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0"/>
  </p:notesMasterIdLst>
  <p:sldIdLst>
    <p:sldId id="379" r:id="rId5"/>
    <p:sldId id="397" r:id="rId6"/>
    <p:sldId id="428" r:id="rId7"/>
    <p:sldId id="411" r:id="rId8"/>
    <p:sldId id="385" r:id="rId9"/>
    <p:sldId id="407" r:id="rId10"/>
    <p:sldId id="408" r:id="rId11"/>
    <p:sldId id="409" r:id="rId12"/>
    <p:sldId id="410" r:id="rId13"/>
    <p:sldId id="412" r:id="rId14"/>
    <p:sldId id="413" r:id="rId15"/>
    <p:sldId id="414" r:id="rId16"/>
    <p:sldId id="423" r:id="rId17"/>
    <p:sldId id="415" r:id="rId18"/>
    <p:sldId id="416" r:id="rId19"/>
    <p:sldId id="417" r:id="rId20"/>
    <p:sldId id="418" r:id="rId21"/>
    <p:sldId id="419" r:id="rId22"/>
    <p:sldId id="420" r:id="rId23"/>
    <p:sldId id="421" r:id="rId24"/>
    <p:sldId id="422" r:id="rId25"/>
    <p:sldId id="424" r:id="rId26"/>
    <p:sldId id="425" r:id="rId27"/>
    <p:sldId id="426" r:id="rId28"/>
    <p:sldId id="427" r:id="rId29"/>
  </p:sldIdLst>
  <p:sldSz cx="12192000" cy="6858000"/>
  <p:notesSz cx="6858000" cy="9144000"/>
  <p:custDataLst>
    <p:tags r:id="rId31"/>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7E9DED-5476-45BB-AC42-E3CA64ACDBB2}" v="5" dt="2024-04-30T09:11:08.364"/>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79" autoAdjust="0"/>
    <p:restoredTop sz="91709" autoAdjust="0"/>
  </p:normalViewPr>
  <p:slideViewPr>
    <p:cSldViewPr snapToGrid="0" showGuides="1">
      <p:cViewPr varScale="1">
        <p:scale>
          <a:sx n="50" d="100"/>
          <a:sy n="50" d="100"/>
        </p:scale>
        <p:origin x="34" y="667"/>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5D7E9DED-5476-45BB-AC42-E3CA64ACDBB2}"/>
    <pc:docChg chg="undo custSel addSld delSld modSld">
      <pc:chgData name="Bosma, Janneke" userId="fbc09de8-61da-4812-b08f-019a8e6904b9" providerId="ADAL" clId="{5D7E9DED-5476-45BB-AC42-E3CA64ACDBB2}" dt="2024-04-30T09:11:08.364" v="703"/>
      <pc:docMkLst>
        <pc:docMk/>
      </pc:docMkLst>
      <pc:sldChg chg="modSp mod">
        <pc:chgData name="Bosma, Janneke" userId="fbc09de8-61da-4812-b08f-019a8e6904b9" providerId="ADAL" clId="{5D7E9DED-5476-45BB-AC42-E3CA64ACDBB2}" dt="2024-04-30T08:52:24.327" v="31" actId="20577"/>
        <pc:sldMkLst>
          <pc:docMk/>
          <pc:sldMk cId="3769673381" sldId="379"/>
        </pc:sldMkLst>
        <pc:spChg chg="mod">
          <ac:chgData name="Bosma, Janneke" userId="fbc09de8-61da-4812-b08f-019a8e6904b9" providerId="ADAL" clId="{5D7E9DED-5476-45BB-AC42-E3CA64ACDBB2}" dt="2024-04-30T08:52:24.327" v="31" actId="20577"/>
          <ac:spMkLst>
            <pc:docMk/>
            <pc:sldMk cId="3769673381" sldId="379"/>
            <ac:spMk id="4" creationId="{48B373E4-EB09-4637-B2B7-5BD0BAB8AFAE}"/>
          </ac:spMkLst>
        </pc:spChg>
      </pc:sldChg>
      <pc:sldChg chg="modSp mod">
        <pc:chgData name="Bosma, Janneke" userId="fbc09de8-61da-4812-b08f-019a8e6904b9" providerId="ADAL" clId="{5D7E9DED-5476-45BB-AC42-E3CA64ACDBB2}" dt="2024-04-30T08:59:00.168" v="342"/>
        <pc:sldMkLst>
          <pc:docMk/>
          <pc:sldMk cId="1539123830" sldId="385"/>
        </pc:sldMkLst>
        <pc:spChg chg="mod">
          <ac:chgData name="Bosma, Janneke" userId="fbc09de8-61da-4812-b08f-019a8e6904b9" providerId="ADAL" clId="{5D7E9DED-5476-45BB-AC42-E3CA64ACDBB2}" dt="2024-04-30T08:59:00.168" v="342"/>
          <ac:spMkLst>
            <pc:docMk/>
            <pc:sldMk cId="1539123830" sldId="385"/>
            <ac:spMk id="5" creationId="{40BEEE44-7F2B-BDF1-A14B-33D44B17EE26}"/>
          </ac:spMkLst>
        </pc:spChg>
      </pc:sldChg>
      <pc:sldChg chg="addSp delSp modSp mod">
        <pc:chgData name="Bosma, Janneke" userId="fbc09de8-61da-4812-b08f-019a8e6904b9" providerId="ADAL" clId="{5D7E9DED-5476-45BB-AC42-E3CA64ACDBB2}" dt="2024-04-30T08:56:18.236" v="257"/>
        <pc:sldMkLst>
          <pc:docMk/>
          <pc:sldMk cId="3516489296" sldId="397"/>
        </pc:sldMkLst>
        <pc:spChg chg="mod">
          <ac:chgData name="Bosma, Janneke" userId="fbc09de8-61da-4812-b08f-019a8e6904b9" providerId="ADAL" clId="{5D7E9DED-5476-45BB-AC42-E3CA64ACDBB2}" dt="2024-04-30T08:52:51.106" v="49" actId="20577"/>
          <ac:spMkLst>
            <pc:docMk/>
            <pc:sldMk cId="3516489296" sldId="397"/>
            <ac:spMk id="2" creationId="{66EECF1F-3A3A-48A9-AF99-34EA2FE500E0}"/>
          </ac:spMkLst>
        </pc:spChg>
        <pc:spChg chg="mod">
          <ac:chgData name="Bosma, Janneke" userId="fbc09de8-61da-4812-b08f-019a8e6904b9" providerId="ADAL" clId="{5D7E9DED-5476-45BB-AC42-E3CA64ACDBB2}" dt="2024-04-30T08:53:55.304" v="109" actId="20577"/>
          <ac:spMkLst>
            <pc:docMk/>
            <pc:sldMk cId="3516489296" sldId="397"/>
            <ac:spMk id="4" creationId="{BA7C8A4B-0C58-FC4E-3F71-0B174C3C0F27}"/>
          </ac:spMkLst>
        </pc:spChg>
        <pc:spChg chg="mod">
          <ac:chgData name="Bosma, Janneke" userId="fbc09de8-61da-4812-b08f-019a8e6904b9" providerId="ADAL" clId="{5D7E9DED-5476-45BB-AC42-E3CA64ACDBB2}" dt="2024-04-30T08:56:00.393" v="255" actId="1076"/>
          <ac:spMkLst>
            <pc:docMk/>
            <pc:sldMk cId="3516489296" sldId="397"/>
            <ac:spMk id="9" creationId="{60C59D0C-7F34-5328-F8A3-2C3D5BD21F19}"/>
          </ac:spMkLst>
        </pc:spChg>
        <pc:spChg chg="add del mod">
          <ac:chgData name="Bosma, Janneke" userId="fbc09de8-61da-4812-b08f-019a8e6904b9" providerId="ADAL" clId="{5D7E9DED-5476-45BB-AC42-E3CA64ACDBB2}" dt="2024-04-30T08:56:18.236" v="257"/>
          <ac:spMkLst>
            <pc:docMk/>
            <pc:sldMk cId="3516489296" sldId="397"/>
            <ac:spMk id="11" creationId="{7CE98FBD-709A-BFE2-702A-39F8B83F6CEC}"/>
          </ac:spMkLst>
        </pc:spChg>
        <pc:spChg chg="mod">
          <ac:chgData name="Bosma, Janneke" userId="fbc09de8-61da-4812-b08f-019a8e6904b9" providerId="ADAL" clId="{5D7E9DED-5476-45BB-AC42-E3CA64ACDBB2}" dt="2024-04-30T08:53:12.785" v="78" actId="6549"/>
          <ac:spMkLst>
            <pc:docMk/>
            <pc:sldMk cId="3516489296" sldId="397"/>
            <ac:spMk id="13" creationId="{F8425492-1027-AF53-46FF-0C1AB39AE994}"/>
          </ac:spMkLst>
        </pc:spChg>
        <pc:spChg chg="mod">
          <ac:chgData name="Bosma, Janneke" userId="fbc09de8-61da-4812-b08f-019a8e6904b9" providerId="ADAL" clId="{5D7E9DED-5476-45BB-AC42-E3CA64ACDBB2}" dt="2024-04-30T08:54:27.965" v="160" actId="20577"/>
          <ac:spMkLst>
            <pc:docMk/>
            <pc:sldMk cId="3516489296" sldId="397"/>
            <ac:spMk id="14" creationId="{9448B57C-F5A4-AEFA-122A-DFF09EB74573}"/>
          </ac:spMkLst>
        </pc:spChg>
        <pc:spChg chg="mod">
          <ac:chgData name="Bosma, Janneke" userId="fbc09de8-61da-4812-b08f-019a8e6904b9" providerId="ADAL" clId="{5D7E9DED-5476-45BB-AC42-E3CA64ACDBB2}" dt="2024-04-30T08:54:12.403" v="145" actId="20577"/>
          <ac:spMkLst>
            <pc:docMk/>
            <pc:sldMk cId="3516489296" sldId="397"/>
            <ac:spMk id="15" creationId="{E8CDE6DC-D889-9DE9-5FD3-20C9EA913B72}"/>
          </ac:spMkLst>
        </pc:spChg>
        <pc:spChg chg="mod">
          <ac:chgData name="Bosma, Janneke" userId="fbc09de8-61da-4812-b08f-019a8e6904b9" providerId="ADAL" clId="{5D7E9DED-5476-45BB-AC42-E3CA64ACDBB2}" dt="2024-04-30T08:55:02.424" v="189" actId="20577"/>
          <ac:spMkLst>
            <pc:docMk/>
            <pc:sldMk cId="3516489296" sldId="397"/>
            <ac:spMk id="16" creationId="{733BB036-B6B9-C5C5-1F5D-5465D704989E}"/>
          </ac:spMkLst>
        </pc:spChg>
        <pc:spChg chg="mod">
          <ac:chgData name="Bosma, Janneke" userId="fbc09de8-61da-4812-b08f-019a8e6904b9" providerId="ADAL" clId="{5D7E9DED-5476-45BB-AC42-E3CA64ACDBB2}" dt="2024-04-30T08:55:30.984" v="237" actId="20577"/>
          <ac:spMkLst>
            <pc:docMk/>
            <pc:sldMk cId="3516489296" sldId="397"/>
            <ac:spMk id="17" creationId="{EA8662EF-1D91-FD69-1FD7-3879D2D9E2CA}"/>
          </ac:spMkLst>
        </pc:spChg>
        <pc:spChg chg="mod">
          <ac:chgData name="Bosma, Janneke" userId="fbc09de8-61da-4812-b08f-019a8e6904b9" providerId="ADAL" clId="{5D7E9DED-5476-45BB-AC42-E3CA64ACDBB2}" dt="2024-04-30T08:53:38.279" v="104" actId="313"/>
          <ac:spMkLst>
            <pc:docMk/>
            <pc:sldMk cId="3516489296" sldId="397"/>
            <ac:spMk id="21" creationId="{E75BAC1C-CDA9-5FEF-0145-8F393B968ED7}"/>
          </ac:spMkLst>
        </pc:spChg>
      </pc:sldChg>
      <pc:sldChg chg="del">
        <pc:chgData name="Bosma, Janneke" userId="fbc09de8-61da-4812-b08f-019a8e6904b9" providerId="ADAL" clId="{5D7E9DED-5476-45BB-AC42-E3CA64ACDBB2}" dt="2024-04-30T08:56:33.884" v="260" actId="47"/>
        <pc:sldMkLst>
          <pc:docMk/>
          <pc:sldMk cId="564075663" sldId="406"/>
        </pc:sldMkLst>
      </pc:sldChg>
      <pc:sldChg chg="modSp mod">
        <pc:chgData name="Bosma, Janneke" userId="fbc09de8-61da-4812-b08f-019a8e6904b9" providerId="ADAL" clId="{5D7E9DED-5476-45BB-AC42-E3CA64ACDBB2}" dt="2024-04-30T08:59:53.766" v="353" actId="20577"/>
        <pc:sldMkLst>
          <pc:docMk/>
          <pc:sldMk cId="46050430" sldId="407"/>
        </pc:sldMkLst>
        <pc:spChg chg="mod">
          <ac:chgData name="Bosma, Janneke" userId="fbc09de8-61da-4812-b08f-019a8e6904b9" providerId="ADAL" clId="{5D7E9DED-5476-45BB-AC42-E3CA64ACDBB2}" dt="2024-04-30T08:59:53.766" v="353" actId="20577"/>
          <ac:spMkLst>
            <pc:docMk/>
            <pc:sldMk cId="46050430" sldId="407"/>
            <ac:spMk id="11" creationId="{A1EE8646-823E-BAE2-5DB9-6A84A4650D75}"/>
          </ac:spMkLst>
        </pc:spChg>
      </pc:sldChg>
      <pc:sldChg chg="modSp mod">
        <pc:chgData name="Bosma, Janneke" userId="fbc09de8-61da-4812-b08f-019a8e6904b9" providerId="ADAL" clId="{5D7E9DED-5476-45BB-AC42-E3CA64ACDBB2}" dt="2024-04-30T09:01:04.459" v="366" actId="20577"/>
        <pc:sldMkLst>
          <pc:docMk/>
          <pc:sldMk cId="293514284" sldId="408"/>
        </pc:sldMkLst>
        <pc:spChg chg="mod">
          <ac:chgData name="Bosma, Janneke" userId="fbc09de8-61da-4812-b08f-019a8e6904b9" providerId="ADAL" clId="{5D7E9DED-5476-45BB-AC42-E3CA64ACDBB2}" dt="2024-04-30T09:01:04.459" v="366" actId="20577"/>
          <ac:spMkLst>
            <pc:docMk/>
            <pc:sldMk cId="293514284" sldId="408"/>
            <ac:spMk id="2" creationId="{66EECF1F-3A3A-48A9-AF99-34EA2FE500E0}"/>
          </ac:spMkLst>
        </pc:spChg>
        <pc:spChg chg="mod">
          <ac:chgData name="Bosma, Janneke" userId="fbc09de8-61da-4812-b08f-019a8e6904b9" providerId="ADAL" clId="{5D7E9DED-5476-45BB-AC42-E3CA64ACDBB2}" dt="2024-04-30T09:00:48.437" v="365"/>
          <ac:spMkLst>
            <pc:docMk/>
            <pc:sldMk cId="293514284" sldId="408"/>
            <ac:spMk id="7" creationId="{6130060B-082D-F851-D95A-F23B46F433C6}"/>
          </ac:spMkLst>
        </pc:spChg>
      </pc:sldChg>
      <pc:sldChg chg="modSp mod">
        <pc:chgData name="Bosma, Janneke" userId="fbc09de8-61da-4812-b08f-019a8e6904b9" providerId="ADAL" clId="{5D7E9DED-5476-45BB-AC42-E3CA64ACDBB2}" dt="2024-04-30T09:01:17.650" v="368"/>
        <pc:sldMkLst>
          <pc:docMk/>
          <pc:sldMk cId="4091157769" sldId="409"/>
        </pc:sldMkLst>
        <pc:spChg chg="mod">
          <ac:chgData name="Bosma, Janneke" userId="fbc09de8-61da-4812-b08f-019a8e6904b9" providerId="ADAL" clId="{5D7E9DED-5476-45BB-AC42-E3CA64ACDBB2}" dt="2024-04-30T09:01:17.650" v="368"/>
          <ac:spMkLst>
            <pc:docMk/>
            <pc:sldMk cId="4091157769" sldId="409"/>
            <ac:spMk id="11" creationId="{A1EE8646-823E-BAE2-5DB9-6A84A4650D75}"/>
          </ac:spMkLst>
        </pc:spChg>
        <pc:spChg chg="mod">
          <ac:chgData name="Bosma, Janneke" userId="fbc09de8-61da-4812-b08f-019a8e6904b9" providerId="ADAL" clId="{5D7E9DED-5476-45BB-AC42-E3CA64ACDBB2}" dt="2024-04-30T09:01:08.750" v="367" actId="20577"/>
          <ac:spMkLst>
            <pc:docMk/>
            <pc:sldMk cId="4091157769" sldId="409"/>
            <ac:spMk id="14" creationId="{24A03EFF-44DB-60C6-6D92-730352C840AC}"/>
          </ac:spMkLst>
        </pc:spChg>
      </pc:sldChg>
      <pc:sldChg chg="modSp mod">
        <pc:chgData name="Bosma, Janneke" userId="fbc09de8-61da-4812-b08f-019a8e6904b9" providerId="ADAL" clId="{5D7E9DED-5476-45BB-AC42-E3CA64ACDBB2}" dt="2024-04-30T09:01:53.966" v="403"/>
        <pc:sldMkLst>
          <pc:docMk/>
          <pc:sldMk cId="2590585570" sldId="410"/>
        </pc:sldMkLst>
        <pc:spChg chg="mod">
          <ac:chgData name="Bosma, Janneke" userId="fbc09de8-61da-4812-b08f-019a8e6904b9" providerId="ADAL" clId="{5D7E9DED-5476-45BB-AC42-E3CA64ACDBB2}" dt="2024-04-30T09:01:53.966" v="403"/>
          <ac:spMkLst>
            <pc:docMk/>
            <pc:sldMk cId="2590585570" sldId="410"/>
            <ac:spMk id="7" creationId="{6130060B-082D-F851-D95A-F23B46F433C6}"/>
          </ac:spMkLst>
        </pc:spChg>
        <pc:cxnChg chg="mod">
          <ac:chgData name="Bosma, Janneke" userId="fbc09de8-61da-4812-b08f-019a8e6904b9" providerId="ADAL" clId="{5D7E9DED-5476-45BB-AC42-E3CA64ACDBB2}" dt="2024-04-30T09:01:45.534" v="402" actId="14100"/>
          <ac:cxnSpMkLst>
            <pc:docMk/>
            <pc:sldMk cId="2590585570" sldId="410"/>
            <ac:cxnSpMk id="13" creationId="{4B31C844-8014-279F-8970-83BB119EC1C8}"/>
          </ac:cxnSpMkLst>
        </pc:cxnChg>
      </pc:sldChg>
      <pc:sldChg chg="modSp mod">
        <pc:chgData name="Bosma, Janneke" userId="fbc09de8-61da-4812-b08f-019a8e6904b9" providerId="ADAL" clId="{5D7E9DED-5476-45BB-AC42-E3CA64ACDBB2}" dt="2024-04-30T08:57:59.802" v="292" actId="20577"/>
        <pc:sldMkLst>
          <pc:docMk/>
          <pc:sldMk cId="3612393912" sldId="411"/>
        </pc:sldMkLst>
        <pc:spChg chg="mod">
          <ac:chgData name="Bosma, Janneke" userId="fbc09de8-61da-4812-b08f-019a8e6904b9" providerId="ADAL" clId="{5D7E9DED-5476-45BB-AC42-E3CA64ACDBB2}" dt="2024-04-30T08:56:44.805" v="281" actId="20577"/>
          <ac:spMkLst>
            <pc:docMk/>
            <pc:sldMk cId="3612393912" sldId="411"/>
            <ac:spMk id="2" creationId="{66EECF1F-3A3A-48A9-AF99-34EA2FE500E0}"/>
          </ac:spMkLst>
        </pc:spChg>
        <pc:spChg chg="mod">
          <ac:chgData name="Bosma, Janneke" userId="fbc09de8-61da-4812-b08f-019a8e6904b9" providerId="ADAL" clId="{5D7E9DED-5476-45BB-AC42-E3CA64ACDBB2}" dt="2024-04-30T08:57:59.802" v="292" actId="20577"/>
          <ac:spMkLst>
            <pc:docMk/>
            <pc:sldMk cId="3612393912" sldId="411"/>
            <ac:spMk id="5" creationId="{40BEEE44-7F2B-BDF1-A14B-33D44B17EE26}"/>
          </ac:spMkLst>
        </pc:spChg>
      </pc:sldChg>
      <pc:sldChg chg="modSp mod">
        <pc:chgData name="Bosma, Janneke" userId="fbc09de8-61da-4812-b08f-019a8e6904b9" providerId="ADAL" clId="{5D7E9DED-5476-45BB-AC42-E3CA64ACDBB2}" dt="2024-04-30T09:02:17.698" v="413"/>
        <pc:sldMkLst>
          <pc:docMk/>
          <pc:sldMk cId="2758261774" sldId="412"/>
        </pc:sldMkLst>
        <pc:spChg chg="mod">
          <ac:chgData name="Bosma, Janneke" userId="fbc09de8-61da-4812-b08f-019a8e6904b9" providerId="ADAL" clId="{5D7E9DED-5476-45BB-AC42-E3CA64ACDBB2}" dt="2024-04-30T09:02:09.719" v="412" actId="20577"/>
          <ac:spMkLst>
            <pc:docMk/>
            <pc:sldMk cId="2758261774" sldId="412"/>
            <ac:spMk id="2" creationId="{66EECF1F-3A3A-48A9-AF99-34EA2FE500E0}"/>
          </ac:spMkLst>
        </pc:spChg>
        <pc:spChg chg="mod">
          <ac:chgData name="Bosma, Janneke" userId="fbc09de8-61da-4812-b08f-019a8e6904b9" providerId="ADAL" clId="{5D7E9DED-5476-45BB-AC42-E3CA64ACDBB2}" dt="2024-04-30T09:02:17.698" v="413"/>
          <ac:spMkLst>
            <pc:docMk/>
            <pc:sldMk cId="2758261774" sldId="412"/>
            <ac:spMk id="7" creationId="{6130060B-082D-F851-D95A-F23B46F433C6}"/>
          </ac:spMkLst>
        </pc:spChg>
      </pc:sldChg>
      <pc:sldChg chg="modSp mod">
        <pc:chgData name="Bosma, Janneke" userId="fbc09de8-61da-4812-b08f-019a8e6904b9" providerId="ADAL" clId="{5D7E9DED-5476-45BB-AC42-E3CA64ACDBB2}" dt="2024-04-30T09:02:54.043" v="417"/>
        <pc:sldMkLst>
          <pc:docMk/>
          <pc:sldMk cId="1098907144" sldId="413"/>
        </pc:sldMkLst>
        <pc:spChg chg="mod">
          <ac:chgData name="Bosma, Janneke" userId="fbc09de8-61da-4812-b08f-019a8e6904b9" providerId="ADAL" clId="{5D7E9DED-5476-45BB-AC42-E3CA64ACDBB2}" dt="2024-04-30T09:02:54.043" v="417"/>
          <ac:spMkLst>
            <pc:docMk/>
            <pc:sldMk cId="1098907144" sldId="413"/>
            <ac:spMk id="7" creationId="{6130060B-082D-F851-D95A-F23B46F433C6}"/>
          </ac:spMkLst>
        </pc:spChg>
      </pc:sldChg>
      <pc:sldChg chg="modSp mod">
        <pc:chgData name="Bosma, Janneke" userId="fbc09de8-61da-4812-b08f-019a8e6904b9" providerId="ADAL" clId="{5D7E9DED-5476-45BB-AC42-E3CA64ACDBB2}" dt="2024-04-30T09:03:43.010" v="421"/>
        <pc:sldMkLst>
          <pc:docMk/>
          <pc:sldMk cId="2483256213" sldId="414"/>
        </pc:sldMkLst>
        <pc:spChg chg="mod">
          <ac:chgData name="Bosma, Janneke" userId="fbc09de8-61da-4812-b08f-019a8e6904b9" providerId="ADAL" clId="{5D7E9DED-5476-45BB-AC42-E3CA64ACDBB2}" dt="2024-04-30T09:03:43.010" v="421"/>
          <ac:spMkLst>
            <pc:docMk/>
            <pc:sldMk cId="2483256213" sldId="414"/>
            <ac:spMk id="7" creationId="{6130060B-082D-F851-D95A-F23B46F433C6}"/>
          </ac:spMkLst>
        </pc:spChg>
      </pc:sldChg>
      <pc:sldChg chg="modSp mod">
        <pc:chgData name="Bosma, Janneke" userId="fbc09de8-61da-4812-b08f-019a8e6904b9" providerId="ADAL" clId="{5D7E9DED-5476-45BB-AC42-E3CA64ACDBB2}" dt="2024-04-30T09:04:08.587" v="424"/>
        <pc:sldMkLst>
          <pc:docMk/>
          <pc:sldMk cId="4044825837" sldId="415"/>
        </pc:sldMkLst>
        <pc:spChg chg="mod">
          <ac:chgData name="Bosma, Janneke" userId="fbc09de8-61da-4812-b08f-019a8e6904b9" providerId="ADAL" clId="{5D7E9DED-5476-45BB-AC42-E3CA64ACDBB2}" dt="2024-04-30T09:04:08.587" v="424"/>
          <ac:spMkLst>
            <pc:docMk/>
            <pc:sldMk cId="4044825837" sldId="415"/>
            <ac:spMk id="7" creationId="{6130060B-082D-F851-D95A-F23B46F433C6}"/>
          </ac:spMkLst>
        </pc:spChg>
      </pc:sldChg>
      <pc:sldChg chg="modSp mod">
        <pc:chgData name="Bosma, Janneke" userId="fbc09de8-61da-4812-b08f-019a8e6904b9" providerId="ADAL" clId="{5D7E9DED-5476-45BB-AC42-E3CA64ACDBB2}" dt="2024-04-30T09:04:33.159" v="428" actId="5793"/>
        <pc:sldMkLst>
          <pc:docMk/>
          <pc:sldMk cId="3853690978" sldId="416"/>
        </pc:sldMkLst>
        <pc:spChg chg="mod">
          <ac:chgData name="Bosma, Janneke" userId="fbc09de8-61da-4812-b08f-019a8e6904b9" providerId="ADAL" clId="{5D7E9DED-5476-45BB-AC42-E3CA64ACDBB2}" dt="2024-04-30T09:04:33.159" v="428" actId="5793"/>
          <ac:spMkLst>
            <pc:docMk/>
            <pc:sldMk cId="3853690978" sldId="416"/>
            <ac:spMk id="7" creationId="{6130060B-082D-F851-D95A-F23B46F433C6}"/>
          </ac:spMkLst>
        </pc:spChg>
      </pc:sldChg>
      <pc:sldChg chg="modSp mod">
        <pc:chgData name="Bosma, Janneke" userId="fbc09de8-61da-4812-b08f-019a8e6904b9" providerId="ADAL" clId="{5D7E9DED-5476-45BB-AC42-E3CA64ACDBB2}" dt="2024-04-30T09:04:51.211" v="429"/>
        <pc:sldMkLst>
          <pc:docMk/>
          <pc:sldMk cId="3669812386" sldId="417"/>
        </pc:sldMkLst>
        <pc:spChg chg="mod">
          <ac:chgData name="Bosma, Janneke" userId="fbc09de8-61da-4812-b08f-019a8e6904b9" providerId="ADAL" clId="{5D7E9DED-5476-45BB-AC42-E3CA64ACDBB2}" dt="2024-04-30T09:04:51.211" v="429"/>
          <ac:spMkLst>
            <pc:docMk/>
            <pc:sldMk cId="3669812386" sldId="417"/>
            <ac:spMk id="7" creationId="{6130060B-082D-F851-D95A-F23B46F433C6}"/>
          </ac:spMkLst>
        </pc:spChg>
      </pc:sldChg>
      <pc:sldChg chg="modSp mod">
        <pc:chgData name="Bosma, Janneke" userId="fbc09de8-61da-4812-b08f-019a8e6904b9" providerId="ADAL" clId="{5D7E9DED-5476-45BB-AC42-E3CA64ACDBB2}" dt="2024-04-30T09:05:25.276" v="465" actId="20577"/>
        <pc:sldMkLst>
          <pc:docMk/>
          <pc:sldMk cId="3739586993" sldId="418"/>
        </pc:sldMkLst>
        <pc:spChg chg="mod">
          <ac:chgData name="Bosma, Janneke" userId="fbc09de8-61da-4812-b08f-019a8e6904b9" providerId="ADAL" clId="{5D7E9DED-5476-45BB-AC42-E3CA64ACDBB2}" dt="2024-04-30T09:05:05.845" v="431"/>
          <ac:spMkLst>
            <pc:docMk/>
            <pc:sldMk cId="3739586993" sldId="418"/>
            <ac:spMk id="7" creationId="{6130060B-082D-F851-D95A-F23B46F433C6}"/>
          </ac:spMkLst>
        </pc:spChg>
        <pc:spChg chg="mod">
          <ac:chgData name="Bosma, Janneke" userId="fbc09de8-61da-4812-b08f-019a8e6904b9" providerId="ADAL" clId="{5D7E9DED-5476-45BB-AC42-E3CA64ACDBB2}" dt="2024-04-30T09:05:15.412" v="448" actId="20577"/>
          <ac:spMkLst>
            <pc:docMk/>
            <pc:sldMk cId="3739586993" sldId="418"/>
            <ac:spMk id="13" creationId="{FA0BD8ED-5E75-8325-8717-1ABA9F0F635A}"/>
          </ac:spMkLst>
        </pc:spChg>
        <pc:spChg chg="mod">
          <ac:chgData name="Bosma, Janneke" userId="fbc09de8-61da-4812-b08f-019a8e6904b9" providerId="ADAL" clId="{5D7E9DED-5476-45BB-AC42-E3CA64ACDBB2}" dt="2024-04-30T09:05:20.425" v="455" actId="20577"/>
          <ac:spMkLst>
            <pc:docMk/>
            <pc:sldMk cId="3739586993" sldId="418"/>
            <ac:spMk id="14" creationId="{B35AA210-CC32-1DE3-DB03-C2B61186BA1B}"/>
          </ac:spMkLst>
        </pc:spChg>
        <pc:spChg chg="mod">
          <ac:chgData name="Bosma, Janneke" userId="fbc09de8-61da-4812-b08f-019a8e6904b9" providerId="ADAL" clId="{5D7E9DED-5476-45BB-AC42-E3CA64ACDBB2}" dt="2024-04-30T09:05:25.276" v="465" actId="20577"/>
          <ac:spMkLst>
            <pc:docMk/>
            <pc:sldMk cId="3739586993" sldId="418"/>
            <ac:spMk id="19" creationId="{FE8A4338-CB20-657A-4DB8-B122D66DABDC}"/>
          </ac:spMkLst>
        </pc:spChg>
      </pc:sldChg>
      <pc:sldChg chg="addSp delSp modSp mod">
        <pc:chgData name="Bosma, Janneke" userId="fbc09de8-61da-4812-b08f-019a8e6904b9" providerId="ADAL" clId="{5D7E9DED-5476-45BB-AC42-E3CA64ACDBB2}" dt="2024-04-30T09:06:19.648" v="470" actId="1076"/>
        <pc:sldMkLst>
          <pc:docMk/>
          <pc:sldMk cId="2495326749" sldId="419"/>
        </pc:sldMkLst>
        <pc:spChg chg="mod">
          <ac:chgData name="Bosma, Janneke" userId="fbc09de8-61da-4812-b08f-019a8e6904b9" providerId="ADAL" clId="{5D7E9DED-5476-45BB-AC42-E3CA64ACDBB2}" dt="2024-04-30T09:05:57.689" v="467"/>
          <ac:spMkLst>
            <pc:docMk/>
            <pc:sldMk cId="2495326749" sldId="419"/>
            <ac:spMk id="7" creationId="{6130060B-082D-F851-D95A-F23B46F433C6}"/>
          </ac:spMkLst>
        </pc:spChg>
        <pc:picChg chg="del">
          <ac:chgData name="Bosma, Janneke" userId="fbc09de8-61da-4812-b08f-019a8e6904b9" providerId="ADAL" clId="{5D7E9DED-5476-45BB-AC42-E3CA64ACDBB2}" dt="2024-04-30T09:06:15.200" v="468" actId="478"/>
          <ac:picMkLst>
            <pc:docMk/>
            <pc:sldMk cId="2495326749" sldId="419"/>
            <ac:picMk id="6" creationId="{5E0E3619-D044-EB57-E6EB-4301F9C71325}"/>
          </ac:picMkLst>
        </pc:picChg>
        <pc:picChg chg="add mod">
          <ac:chgData name="Bosma, Janneke" userId="fbc09de8-61da-4812-b08f-019a8e6904b9" providerId="ADAL" clId="{5D7E9DED-5476-45BB-AC42-E3CA64ACDBB2}" dt="2024-04-30T09:06:19.648" v="470" actId="1076"/>
          <ac:picMkLst>
            <pc:docMk/>
            <pc:sldMk cId="2495326749" sldId="419"/>
            <ac:picMk id="10" creationId="{5563075B-5503-27D2-1F0B-F1A81CB18264}"/>
          </ac:picMkLst>
        </pc:picChg>
      </pc:sldChg>
      <pc:sldChg chg="modSp mod">
        <pc:chgData name="Bosma, Janneke" userId="fbc09de8-61da-4812-b08f-019a8e6904b9" providerId="ADAL" clId="{5D7E9DED-5476-45BB-AC42-E3CA64ACDBB2}" dt="2024-04-30T09:07:26.003" v="545" actId="20577"/>
        <pc:sldMkLst>
          <pc:docMk/>
          <pc:sldMk cId="2388035959" sldId="420"/>
        </pc:sldMkLst>
        <pc:spChg chg="mod">
          <ac:chgData name="Bosma, Janneke" userId="fbc09de8-61da-4812-b08f-019a8e6904b9" providerId="ADAL" clId="{5D7E9DED-5476-45BB-AC42-E3CA64ACDBB2}" dt="2024-04-30T09:07:26.003" v="545" actId="20577"/>
          <ac:spMkLst>
            <pc:docMk/>
            <pc:sldMk cId="2388035959" sldId="420"/>
            <ac:spMk id="17" creationId="{90835E28-2F73-5405-7011-F118791CE24B}"/>
          </ac:spMkLst>
        </pc:spChg>
        <pc:spChg chg="mod">
          <ac:chgData name="Bosma, Janneke" userId="fbc09de8-61da-4812-b08f-019a8e6904b9" providerId="ADAL" clId="{5D7E9DED-5476-45BB-AC42-E3CA64ACDBB2}" dt="2024-04-30T09:07:01.525" v="497" actId="20577"/>
          <ac:spMkLst>
            <pc:docMk/>
            <pc:sldMk cId="2388035959" sldId="420"/>
            <ac:spMk id="18" creationId="{19F6B2BB-16C2-0EE6-FEA5-67E50A58FF9D}"/>
          </ac:spMkLst>
        </pc:spChg>
        <pc:spChg chg="mod">
          <ac:chgData name="Bosma, Janneke" userId="fbc09de8-61da-4812-b08f-019a8e6904b9" providerId="ADAL" clId="{5D7E9DED-5476-45BB-AC42-E3CA64ACDBB2}" dt="2024-04-30T09:06:32.196" v="471"/>
          <ac:spMkLst>
            <pc:docMk/>
            <pc:sldMk cId="2388035959" sldId="420"/>
            <ac:spMk id="19" creationId="{CFAAC475-4B62-0FF7-A0F2-B7EC9802B226}"/>
          </ac:spMkLst>
        </pc:spChg>
        <pc:spChg chg="mod">
          <ac:chgData name="Bosma, Janneke" userId="fbc09de8-61da-4812-b08f-019a8e6904b9" providerId="ADAL" clId="{5D7E9DED-5476-45BB-AC42-E3CA64ACDBB2}" dt="2024-04-30T09:06:48.679" v="472"/>
          <ac:spMkLst>
            <pc:docMk/>
            <pc:sldMk cId="2388035959" sldId="420"/>
            <ac:spMk id="20" creationId="{3A0C3F1E-2F5A-33F9-FFBB-09FFC74E6445}"/>
          </ac:spMkLst>
        </pc:spChg>
      </pc:sldChg>
      <pc:sldChg chg="modSp mod">
        <pc:chgData name="Bosma, Janneke" userId="fbc09de8-61da-4812-b08f-019a8e6904b9" providerId="ADAL" clId="{5D7E9DED-5476-45BB-AC42-E3CA64ACDBB2}" dt="2024-04-30T09:07:36.535" v="546"/>
        <pc:sldMkLst>
          <pc:docMk/>
          <pc:sldMk cId="3939267891" sldId="421"/>
        </pc:sldMkLst>
        <pc:spChg chg="mod">
          <ac:chgData name="Bosma, Janneke" userId="fbc09de8-61da-4812-b08f-019a8e6904b9" providerId="ADAL" clId="{5D7E9DED-5476-45BB-AC42-E3CA64ACDBB2}" dt="2024-04-30T09:07:36.535" v="546"/>
          <ac:spMkLst>
            <pc:docMk/>
            <pc:sldMk cId="3939267891" sldId="421"/>
            <ac:spMk id="4" creationId="{FAF63E35-476B-7E52-1BB2-7BD007611542}"/>
          </ac:spMkLst>
        </pc:spChg>
      </pc:sldChg>
      <pc:sldChg chg="modSp mod">
        <pc:chgData name="Bosma, Janneke" userId="fbc09de8-61da-4812-b08f-019a8e6904b9" providerId="ADAL" clId="{5D7E9DED-5476-45BB-AC42-E3CA64ACDBB2}" dt="2024-04-30T09:08:05.857" v="599"/>
        <pc:sldMkLst>
          <pc:docMk/>
          <pc:sldMk cId="1789795038" sldId="422"/>
        </pc:sldMkLst>
        <pc:spChg chg="mod">
          <ac:chgData name="Bosma, Janneke" userId="fbc09de8-61da-4812-b08f-019a8e6904b9" providerId="ADAL" clId="{5D7E9DED-5476-45BB-AC42-E3CA64ACDBB2}" dt="2024-04-30T09:08:05.857" v="599"/>
          <ac:spMkLst>
            <pc:docMk/>
            <pc:sldMk cId="1789795038" sldId="422"/>
            <ac:spMk id="4" creationId="{71FA9C9A-5CE8-9C39-A904-4BE1B98706A4}"/>
          </ac:spMkLst>
        </pc:spChg>
        <pc:spChg chg="mod">
          <ac:chgData name="Bosma, Janneke" userId="fbc09de8-61da-4812-b08f-019a8e6904b9" providerId="ADAL" clId="{5D7E9DED-5476-45BB-AC42-E3CA64ACDBB2}" dt="2024-04-30T09:07:50.536" v="562" actId="20577"/>
          <ac:spMkLst>
            <pc:docMk/>
            <pc:sldMk cId="1789795038" sldId="422"/>
            <ac:spMk id="9" creationId="{6FCC7BEE-A0C3-03EE-CF60-2EEDF06981E6}"/>
          </ac:spMkLst>
        </pc:spChg>
        <pc:spChg chg="mod">
          <ac:chgData name="Bosma, Janneke" userId="fbc09de8-61da-4812-b08f-019a8e6904b9" providerId="ADAL" clId="{5D7E9DED-5476-45BB-AC42-E3CA64ACDBB2}" dt="2024-04-30T09:07:58.122" v="598" actId="20577"/>
          <ac:spMkLst>
            <pc:docMk/>
            <pc:sldMk cId="1789795038" sldId="422"/>
            <ac:spMk id="10" creationId="{A32E7D43-09F8-59AB-808A-616E0A44945A}"/>
          </ac:spMkLst>
        </pc:spChg>
        <pc:spChg chg="mod">
          <ac:chgData name="Bosma, Janneke" userId="fbc09de8-61da-4812-b08f-019a8e6904b9" providerId="ADAL" clId="{5D7E9DED-5476-45BB-AC42-E3CA64ACDBB2}" dt="2024-04-30T09:07:46.605" v="547"/>
          <ac:spMkLst>
            <pc:docMk/>
            <pc:sldMk cId="1789795038" sldId="422"/>
            <ac:spMk id="12" creationId="{2D9E843E-7061-D8B3-730B-EEF74193C2FA}"/>
          </ac:spMkLst>
        </pc:spChg>
      </pc:sldChg>
      <pc:sldChg chg="modSp mod">
        <pc:chgData name="Bosma, Janneke" userId="fbc09de8-61da-4812-b08f-019a8e6904b9" providerId="ADAL" clId="{5D7E9DED-5476-45BB-AC42-E3CA64ACDBB2}" dt="2024-04-30T09:03:51.895" v="422"/>
        <pc:sldMkLst>
          <pc:docMk/>
          <pc:sldMk cId="114589316" sldId="423"/>
        </pc:sldMkLst>
        <pc:spChg chg="mod">
          <ac:chgData name="Bosma, Janneke" userId="fbc09de8-61da-4812-b08f-019a8e6904b9" providerId="ADAL" clId="{5D7E9DED-5476-45BB-AC42-E3CA64ACDBB2}" dt="2024-04-30T09:03:51.895" v="422"/>
          <ac:spMkLst>
            <pc:docMk/>
            <pc:sldMk cId="114589316" sldId="423"/>
            <ac:spMk id="7" creationId="{6130060B-082D-F851-D95A-F23B46F433C6}"/>
          </ac:spMkLst>
        </pc:spChg>
      </pc:sldChg>
      <pc:sldChg chg="modSp mod">
        <pc:chgData name="Bosma, Janneke" userId="fbc09de8-61da-4812-b08f-019a8e6904b9" providerId="ADAL" clId="{5D7E9DED-5476-45BB-AC42-E3CA64ACDBB2}" dt="2024-04-30T09:08:25.463" v="602"/>
        <pc:sldMkLst>
          <pc:docMk/>
          <pc:sldMk cId="2572287687" sldId="424"/>
        </pc:sldMkLst>
        <pc:spChg chg="mod">
          <ac:chgData name="Bosma, Janneke" userId="fbc09de8-61da-4812-b08f-019a8e6904b9" providerId="ADAL" clId="{5D7E9DED-5476-45BB-AC42-E3CA64ACDBB2}" dt="2024-04-30T09:08:25.463" v="602"/>
          <ac:spMkLst>
            <pc:docMk/>
            <pc:sldMk cId="2572287687" sldId="424"/>
            <ac:spMk id="3" creationId="{85D56D13-19BA-8733-E163-76945536D05D}"/>
          </ac:spMkLst>
        </pc:spChg>
      </pc:sldChg>
      <pc:sldChg chg="modSp mod">
        <pc:chgData name="Bosma, Janneke" userId="fbc09de8-61da-4812-b08f-019a8e6904b9" providerId="ADAL" clId="{5D7E9DED-5476-45BB-AC42-E3CA64ACDBB2}" dt="2024-04-30T09:08:55.141" v="607"/>
        <pc:sldMkLst>
          <pc:docMk/>
          <pc:sldMk cId="2505307723" sldId="425"/>
        </pc:sldMkLst>
        <pc:spChg chg="mod">
          <ac:chgData name="Bosma, Janneke" userId="fbc09de8-61da-4812-b08f-019a8e6904b9" providerId="ADAL" clId="{5D7E9DED-5476-45BB-AC42-E3CA64ACDBB2}" dt="2024-04-30T09:08:55.141" v="607"/>
          <ac:spMkLst>
            <pc:docMk/>
            <pc:sldMk cId="2505307723" sldId="425"/>
            <ac:spMk id="3" creationId="{48031A04-7CFD-6462-836A-49F9BC1DE150}"/>
          </ac:spMkLst>
        </pc:spChg>
      </pc:sldChg>
      <pc:sldChg chg="modSp mod">
        <pc:chgData name="Bosma, Janneke" userId="fbc09de8-61da-4812-b08f-019a8e6904b9" providerId="ADAL" clId="{5D7E9DED-5476-45BB-AC42-E3CA64ACDBB2}" dt="2024-04-30T09:09:20.839" v="610"/>
        <pc:sldMkLst>
          <pc:docMk/>
          <pc:sldMk cId="2484447102" sldId="426"/>
        </pc:sldMkLst>
        <pc:spChg chg="mod">
          <ac:chgData name="Bosma, Janneke" userId="fbc09de8-61da-4812-b08f-019a8e6904b9" providerId="ADAL" clId="{5D7E9DED-5476-45BB-AC42-E3CA64ACDBB2}" dt="2024-04-30T09:09:20.839" v="610"/>
          <ac:spMkLst>
            <pc:docMk/>
            <pc:sldMk cId="2484447102" sldId="426"/>
            <ac:spMk id="3" creationId="{B3760A30-47C6-BEE2-F689-6C6287D11AE1}"/>
          </ac:spMkLst>
        </pc:spChg>
      </pc:sldChg>
      <pc:sldChg chg="addSp modSp mod">
        <pc:chgData name="Bosma, Janneke" userId="fbc09de8-61da-4812-b08f-019a8e6904b9" providerId="ADAL" clId="{5D7E9DED-5476-45BB-AC42-E3CA64ACDBB2}" dt="2024-04-30T09:11:08.364" v="703"/>
        <pc:sldMkLst>
          <pc:docMk/>
          <pc:sldMk cId="805092564" sldId="427"/>
        </pc:sldMkLst>
        <pc:spChg chg="mod">
          <ac:chgData name="Bosma, Janneke" userId="fbc09de8-61da-4812-b08f-019a8e6904b9" providerId="ADAL" clId="{5D7E9DED-5476-45BB-AC42-E3CA64ACDBB2}" dt="2024-04-30T09:09:56.443" v="615"/>
          <ac:spMkLst>
            <pc:docMk/>
            <pc:sldMk cId="805092564" sldId="427"/>
            <ac:spMk id="3" creationId="{8EA9C816-D3FC-5907-ED24-7D59FC2C3AE3}"/>
          </ac:spMkLst>
        </pc:spChg>
        <pc:spChg chg="mod">
          <ac:chgData name="Bosma, Janneke" userId="fbc09de8-61da-4812-b08f-019a8e6904b9" providerId="ADAL" clId="{5D7E9DED-5476-45BB-AC42-E3CA64ACDBB2}" dt="2024-04-30T09:10:06.162" v="634" actId="20577"/>
          <ac:spMkLst>
            <pc:docMk/>
            <pc:sldMk cId="805092564" sldId="427"/>
            <ac:spMk id="16" creationId="{143D4C67-2049-CC3C-0FEA-B89F75408752}"/>
          </ac:spMkLst>
        </pc:spChg>
        <pc:spChg chg="mod">
          <ac:chgData name="Bosma, Janneke" userId="fbc09de8-61da-4812-b08f-019a8e6904b9" providerId="ADAL" clId="{5D7E9DED-5476-45BB-AC42-E3CA64ACDBB2}" dt="2024-04-30T09:10:24.553" v="637" actId="1076"/>
          <ac:spMkLst>
            <pc:docMk/>
            <pc:sldMk cId="805092564" sldId="427"/>
            <ac:spMk id="17" creationId="{BCAC4939-A9AF-B875-9082-96BD50927A06}"/>
          </ac:spMkLst>
        </pc:spChg>
        <pc:spChg chg="mod">
          <ac:chgData name="Bosma, Janneke" userId="fbc09de8-61da-4812-b08f-019a8e6904b9" providerId="ADAL" clId="{5D7E9DED-5476-45BB-AC42-E3CA64ACDBB2}" dt="2024-04-30T09:10:58.269" v="702" actId="20577"/>
          <ac:spMkLst>
            <pc:docMk/>
            <pc:sldMk cId="805092564" sldId="427"/>
            <ac:spMk id="18" creationId="{FAE9FBFF-30C8-25C0-94BD-1BB9A9B16431}"/>
          </ac:spMkLst>
        </pc:spChg>
        <pc:spChg chg="mod">
          <ac:chgData name="Bosma, Janneke" userId="fbc09de8-61da-4812-b08f-019a8e6904b9" providerId="ADAL" clId="{5D7E9DED-5476-45BB-AC42-E3CA64ACDBB2}" dt="2024-04-30T09:10:49.259" v="680" actId="20577"/>
          <ac:spMkLst>
            <pc:docMk/>
            <pc:sldMk cId="805092564" sldId="427"/>
            <ac:spMk id="19" creationId="{FFFA4A67-E670-CD87-74A4-C9A907CC0B23}"/>
          </ac:spMkLst>
        </pc:spChg>
        <pc:spChg chg="mod">
          <ac:chgData name="Bosma, Janneke" userId="fbc09de8-61da-4812-b08f-019a8e6904b9" providerId="ADAL" clId="{5D7E9DED-5476-45BB-AC42-E3CA64ACDBB2}" dt="2024-04-30T09:10:55.784" v="700" actId="20577"/>
          <ac:spMkLst>
            <pc:docMk/>
            <pc:sldMk cId="805092564" sldId="427"/>
            <ac:spMk id="20" creationId="{FE6A46C4-2036-80FC-9AAA-D091789BEFB8}"/>
          </ac:spMkLst>
        </pc:spChg>
        <pc:spChg chg="add mod">
          <ac:chgData name="Bosma, Janneke" userId="fbc09de8-61da-4812-b08f-019a8e6904b9" providerId="ADAL" clId="{5D7E9DED-5476-45BB-AC42-E3CA64ACDBB2}" dt="2024-04-30T09:11:08.364" v="703"/>
          <ac:spMkLst>
            <pc:docMk/>
            <pc:sldMk cId="805092564" sldId="427"/>
            <ac:spMk id="21" creationId="{D28AE8AD-3755-722F-F534-DF81C8527A0D}"/>
          </ac:spMkLst>
        </pc:spChg>
      </pc:sldChg>
      <pc:sldChg chg="addSp modSp add">
        <pc:chgData name="Bosma, Janneke" userId="fbc09de8-61da-4812-b08f-019a8e6904b9" providerId="ADAL" clId="{5D7E9DED-5476-45BB-AC42-E3CA64ACDBB2}" dt="2024-04-30T08:56:28.774" v="259"/>
        <pc:sldMkLst>
          <pc:docMk/>
          <pc:sldMk cId="991624986" sldId="428"/>
        </pc:sldMkLst>
        <pc:spChg chg="add mod">
          <ac:chgData name="Bosma, Janneke" userId="fbc09de8-61da-4812-b08f-019a8e6904b9" providerId="ADAL" clId="{5D7E9DED-5476-45BB-AC42-E3CA64ACDBB2}" dt="2024-04-30T08:56:28.774" v="259"/>
          <ac:spMkLst>
            <pc:docMk/>
            <pc:sldMk cId="991624986" sldId="428"/>
            <ac:spMk id="11" creationId="{387E18F3-4699-86DB-61EF-8C1330AC28CA}"/>
          </ac:spMkLst>
        </pc:spChg>
        <pc:spChg chg="add mod">
          <ac:chgData name="Bosma, Janneke" userId="fbc09de8-61da-4812-b08f-019a8e6904b9" providerId="ADAL" clId="{5D7E9DED-5476-45BB-AC42-E3CA64ACDBB2}" dt="2024-04-30T08:56:28.774" v="259"/>
          <ac:spMkLst>
            <pc:docMk/>
            <pc:sldMk cId="991624986" sldId="428"/>
            <ac:spMk id="22" creationId="{9A939B48-148C-6952-5D51-9B37AFEC3873}"/>
          </ac:spMkLst>
        </pc:spChg>
        <pc:spChg chg="add mod">
          <ac:chgData name="Bosma, Janneke" userId="fbc09de8-61da-4812-b08f-019a8e6904b9" providerId="ADAL" clId="{5D7E9DED-5476-45BB-AC42-E3CA64ACDBB2}" dt="2024-04-30T08:56:28.774" v="259"/>
          <ac:spMkLst>
            <pc:docMk/>
            <pc:sldMk cId="991624986" sldId="428"/>
            <ac:spMk id="23" creationId="{D5911FD1-2073-67EF-4EF2-D443E57D5732}"/>
          </ac:spMkLst>
        </pc:spChg>
        <pc:spChg chg="add mod">
          <ac:chgData name="Bosma, Janneke" userId="fbc09de8-61da-4812-b08f-019a8e6904b9" providerId="ADAL" clId="{5D7E9DED-5476-45BB-AC42-E3CA64ACDBB2}" dt="2024-04-30T08:56:28.774" v="259"/>
          <ac:spMkLst>
            <pc:docMk/>
            <pc:sldMk cId="991624986" sldId="428"/>
            <ac:spMk id="24" creationId="{91199834-504A-ED2F-6F61-60BDA6CB7313}"/>
          </ac:spMkLst>
        </pc:spChg>
        <pc:spChg chg="add mod">
          <ac:chgData name="Bosma, Janneke" userId="fbc09de8-61da-4812-b08f-019a8e6904b9" providerId="ADAL" clId="{5D7E9DED-5476-45BB-AC42-E3CA64ACDBB2}" dt="2024-04-30T08:56:28.774" v="259"/>
          <ac:spMkLst>
            <pc:docMk/>
            <pc:sldMk cId="991624986" sldId="428"/>
            <ac:spMk id="25" creationId="{94165B84-E86C-643E-176A-957AB9BE422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30-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2255399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4108064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398828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3</a:t>
            </a:fld>
            <a:endParaRPr lang="nl-NL"/>
          </a:p>
        </p:txBody>
      </p:sp>
    </p:spTree>
    <p:extLst>
      <p:ext uri="{BB962C8B-B14F-4D97-AF65-F5344CB8AC3E}">
        <p14:creationId xmlns:p14="http://schemas.microsoft.com/office/powerpoint/2010/main" val="73466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4</a:t>
            </a:fld>
            <a:endParaRPr lang="nl-NL"/>
          </a:p>
        </p:txBody>
      </p:sp>
    </p:spTree>
    <p:extLst>
      <p:ext uri="{BB962C8B-B14F-4D97-AF65-F5344CB8AC3E}">
        <p14:creationId xmlns:p14="http://schemas.microsoft.com/office/powerpoint/2010/main" val="2638376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5</a:t>
            </a:fld>
            <a:endParaRPr lang="nl-NL"/>
          </a:p>
        </p:txBody>
      </p:sp>
    </p:spTree>
    <p:extLst>
      <p:ext uri="{BB962C8B-B14F-4D97-AF65-F5344CB8AC3E}">
        <p14:creationId xmlns:p14="http://schemas.microsoft.com/office/powerpoint/2010/main" val="3637046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6</a:t>
            </a:fld>
            <a:endParaRPr lang="nl-NL"/>
          </a:p>
        </p:txBody>
      </p:sp>
    </p:spTree>
    <p:extLst>
      <p:ext uri="{BB962C8B-B14F-4D97-AF65-F5344CB8AC3E}">
        <p14:creationId xmlns:p14="http://schemas.microsoft.com/office/powerpoint/2010/main" val="36331245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7</a:t>
            </a:fld>
            <a:endParaRPr lang="nl-NL"/>
          </a:p>
        </p:txBody>
      </p:sp>
    </p:spTree>
    <p:extLst>
      <p:ext uri="{BB962C8B-B14F-4D97-AF65-F5344CB8AC3E}">
        <p14:creationId xmlns:p14="http://schemas.microsoft.com/office/powerpoint/2010/main" val="447553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8</a:t>
            </a:fld>
            <a:endParaRPr lang="nl-NL"/>
          </a:p>
        </p:txBody>
      </p:sp>
    </p:spTree>
    <p:extLst>
      <p:ext uri="{BB962C8B-B14F-4D97-AF65-F5344CB8AC3E}">
        <p14:creationId xmlns:p14="http://schemas.microsoft.com/office/powerpoint/2010/main" val="8975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9</a:t>
            </a:fld>
            <a:endParaRPr lang="nl-NL"/>
          </a:p>
        </p:txBody>
      </p:sp>
    </p:spTree>
    <p:extLst>
      <p:ext uri="{BB962C8B-B14F-4D97-AF65-F5344CB8AC3E}">
        <p14:creationId xmlns:p14="http://schemas.microsoft.com/office/powerpoint/2010/main" val="3771867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a:t>
            </a:fld>
            <a:endParaRPr lang="nl-NL"/>
          </a:p>
        </p:txBody>
      </p:sp>
    </p:spTree>
    <p:extLst>
      <p:ext uri="{BB962C8B-B14F-4D97-AF65-F5344CB8AC3E}">
        <p14:creationId xmlns:p14="http://schemas.microsoft.com/office/powerpoint/2010/main" val="1055338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0</a:t>
            </a:fld>
            <a:endParaRPr lang="nl-NL"/>
          </a:p>
        </p:txBody>
      </p:sp>
    </p:spTree>
    <p:extLst>
      <p:ext uri="{BB962C8B-B14F-4D97-AF65-F5344CB8AC3E}">
        <p14:creationId xmlns:p14="http://schemas.microsoft.com/office/powerpoint/2010/main" val="21314059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1</a:t>
            </a:fld>
            <a:endParaRPr lang="nl-NL"/>
          </a:p>
        </p:txBody>
      </p:sp>
    </p:spTree>
    <p:extLst>
      <p:ext uri="{BB962C8B-B14F-4D97-AF65-F5344CB8AC3E}">
        <p14:creationId xmlns:p14="http://schemas.microsoft.com/office/powerpoint/2010/main" val="900618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3</a:t>
            </a:fld>
            <a:endParaRPr lang="nl-NL"/>
          </a:p>
        </p:txBody>
      </p:sp>
    </p:spTree>
    <p:extLst>
      <p:ext uri="{BB962C8B-B14F-4D97-AF65-F5344CB8AC3E}">
        <p14:creationId xmlns:p14="http://schemas.microsoft.com/office/powerpoint/2010/main" val="7164451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4</a:t>
            </a:fld>
            <a:endParaRPr lang="nl-NL"/>
          </a:p>
        </p:txBody>
      </p:sp>
    </p:spTree>
    <p:extLst>
      <p:ext uri="{BB962C8B-B14F-4D97-AF65-F5344CB8AC3E}">
        <p14:creationId xmlns:p14="http://schemas.microsoft.com/office/powerpoint/2010/main" val="2611531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5</a:t>
            </a:fld>
            <a:endParaRPr lang="nl-NL"/>
          </a:p>
        </p:txBody>
      </p:sp>
    </p:spTree>
    <p:extLst>
      <p:ext uri="{BB962C8B-B14F-4D97-AF65-F5344CB8AC3E}">
        <p14:creationId xmlns:p14="http://schemas.microsoft.com/office/powerpoint/2010/main" val="1282926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6</a:t>
            </a:fld>
            <a:endParaRPr lang="nl-NL"/>
          </a:p>
        </p:txBody>
      </p:sp>
    </p:spTree>
    <p:extLst>
      <p:ext uri="{BB962C8B-B14F-4D97-AF65-F5344CB8AC3E}">
        <p14:creationId xmlns:p14="http://schemas.microsoft.com/office/powerpoint/2010/main" val="2431450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7</a:t>
            </a:fld>
            <a:endParaRPr lang="nl-NL"/>
          </a:p>
        </p:txBody>
      </p:sp>
    </p:spTree>
    <p:extLst>
      <p:ext uri="{BB962C8B-B14F-4D97-AF65-F5344CB8AC3E}">
        <p14:creationId xmlns:p14="http://schemas.microsoft.com/office/powerpoint/2010/main" val="116523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3635869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9</a:t>
            </a:fld>
            <a:endParaRPr lang="nl-NL"/>
          </a:p>
        </p:txBody>
      </p:sp>
    </p:spTree>
    <p:extLst>
      <p:ext uri="{BB962C8B-B14F-4D97-AF65-F5344CB8AC3E}">
        <p14:creationId xmlns:p14="http://schemas.microsoft.com/office/powerpoint/2010/main" val="3119262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3" y="6184856"/>
            <a:ext cx="1726537"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alpaspoort/Digitaal Product Paspoor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youtu.be/9o4gDQvVkLU" TargetMode="External"/><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hyperlink" Target="https://github.com/JannekeBosma/DPP" TargetMode="External"/><Relationship Id="rId4" Type="http://schemas.openxmlformats.org/officeDocument/2006/relationships/hyperlink" Target="https://code.visualstudio.com/docs/python/python-tutori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nl-NL" sz="3600" dirty="0"/>
              <a:t>Materiaal </a:t>
            </a:r>
            <a:r>
              <a:rPr lang="nl-NL" sz="3600" dirty="0" err="1"/>
              <a:t>passports</a:t>
            </a:r>
            <a:r>
              <a:rPr lang="nl-NL" sz="3600" dirty="0"/>
              <a:t> en digital product </a:t>
            </a:r>
            <a:r>
              <a:rPr lang="nl-NL" sz="3600" dirty="0" err="1"/>
              <a:t>passports</a:t>
            </a:r>
            <a:r>
              <a:rPr lang="nl-NL" sz="3600" dirty="0"/>
              <a:t> in </a:t>
            </a:r>
            <a:r>
              <a:rPr lang="nl-NL" sz="3600" dirty="0" err="1"/>
              <a:t>the</a:t>
            </a:r>
            <a:r>
              <a:rPr lang="nl-NL" sz="3600" dirty="0"/>
              <a:t> built environment</a:t>
            </a:r>
            <a:endParaRPr lang="nl-NL"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heck </a:t>
            </a:r>
            <a:r>
              <a:rPr lang="nl-NL" dirty="0" err="1"/>
              <a:t>the</a:t>
            </a:r>
            <a:r>
              <a:rPr lang="nl-NL" dirty="0"/>
              <a: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9448740"/>
          </a:xfrm>
          <a:prstGeom prst="rect">
            <a:avLst/>
          </a:prstGeom>
          <a:noFill/>
        </p:spPr>
        <p:txBody>
          <a:bodyPr wrap="square">
            <a:spAutoFit/>
          </a:bodyPr>
          <a:lstStyle/>
          <a:p>
            <a:pPr marL="342900" indent="-342900" algn="l">
              <a:buAutoNum type="arabicPeriod"/>
            </a:pPr>
            <a:r>
              <a:rPr lang="en-US" sz="1600" b="0" i="0" dirty="0">
                <a:effectLst/>
                <a:latin typeface="Söhne"/>
              </a:rPr>
              <a:t>Open the converted </a:t>
            </a:r>
            <a:r>
              <a:rPr lang="en-US" sz="1600" b="0" i="0" dirty="0" err="1">
                <a:effectLst/>
                <a:latin typeface="Söhne"/>
              </a:rPr>
              <a:t>ttl</a:t>
            </a:r>
            <a:r>
              <a:rPr lang="en-US" sz="1600" b="0" i="0" dirty="0">
                <a:effectLst/>
                <a:latin typeface="Söhne"/>
              </a:rPr>
              <a:t> file. Copy the appropriate prefixes at the top of the file. These are stored in </a:t>
            </a:r>
            <a:r>
              <a:rPr lang="en-US" sz="1600" b="0" i="0" dirty="0" err="1">
                <a:effectLst/>
                <a:latin typeface="Söhne"/>
              </a:rPr>
              <a:t>Github</a:t>
            </a:r>
            <a:endParaRPr lang="en-US"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en-US" sz="1600" b="0" i="0" dirty="0">
                <a:effectLst/>
                <a:latin typeface="Söhne"/>
              </a:rPr>
              <a:t>Check the file for errors. See some errors named on next slide</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CAD11CA8-85F1-C671-E7D8-0F6A9333926C}"/>
              </a:ext>
            </a:extLst>
          </p:cNvPr>
          <p:cNvPicPr>
            <a:picLocks noChangeAspect="1"/>
          </p:cNvPicPr>
          <p:nvPr/>
        </p:nvPicPr>
        <p:blipFill>
          <a:blip r:embed="rId3"/>
          <a:stretch>
            <a:fillRect/>
          </a:stretch>
        </p:blipFill>
        <p:spPr>
          <a:xfrm>
            <a:off x="1203109" y="1711141"/>
            <a:ext cx="5574136" cy="3209201"/>
          </a:xfrm>
          <a:prstGeom prst="rect">
            <a:avLst/>
          </a:prstGeom>
        </p:spPr>
      </p:pic>
    </p:spTree>
    <p:extLst>
      <p:ext uri="{BB962C8B-B14F-4D97-AF65-F5344CB8AC3E}">
        <p14:creationId xmlns:p14="http://schemas.microsoft.com/office/powerpoint/2010/main" val="2758261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roleer de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7725192"/>
          </a:xfrm>
          <a:prstGeom prst="rect">
            <a:avLst/>
          </a:prstGeom>
          <a:noFill/>
        </p:spPr>
        <p:txBody>
          <a:bodyPr wrap="square">
            <a:spAutoFit/>
          </a:bodyPr>
          <a:lstStyle/>
          <a:p>
            <a:pPr marL="342900" indent="-342900" algn="l">
              <a:buAutoNum type="arabicPeriod"/>
            </a:pPr>
            <a:r>
              <a:rPr lang="en-US" sz="1600" b="0" i="0" dirty="0">
                <a:effectLst/>
                <a:latin typeface="Söhne"/>
              </a:rPr>
              <a:t>One of the errors is the presence of a double ". This can be recognized by the color of the code. Also, errors in the naming can occur e.g. with</a:t>
            </a:r>
            <a:r>
              <a:rPr lang="en-US" sz="1600" b="0" i="0" dirty="0">
                <a:effectLst/>
                <a:highlight>
                  <a:srgbClr val="FFFF00"/>
                </a:highlight>
                <a:latin typeface="Söhne"/>
              </a:rPr>
              <a:t> . </a:t>
            </a:r>
            <a:r>
              <a:rPr lang="en-US" sz="1600" b="0" i="0" dirty="0">
                <a:effectLst/>
                <a:latin typeface="Söhne"/>
              </a:rPr>
              <a:t>use in ex. 2. Here again a color difference can be seen in the 3. </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en-US" sz="1600" b="0" i="0" dirty="0">
                <a:effectLst/>
                <a:latin typeface="Söhne"/>
              </a:rPr>
              <a:t>In addition, errors may occur that will not be immediately visible in the text. In the next steps, if you want to start validating the RDF with the tool, these error messages will appear in the terminal. Don't be afraid if you see unfamiliar phrases or don't understand it right away. You can copy this text into </a:t>
            </a:r>
            <a:r>
              <a:rPr lang="en-US" sz="1600" b="0" i="0" dirty="0" err="1">
                <a:effectLst/>
                <a:latin typeface="Söhne"/>
              </a:rPr>
              <a:t>chatGPT</a:t>
            </a:r>
            <a:r>
              <a:rPr lang="en-US" sz="1600" b="0" i="0" dirty="0">
                <a:effectLst/>
                <a:latin typeface="Söhne"/>
              </a:rPr>
              <a:t> and it will indicate where it goes wrong or even point to the line where it goes wrong. For this it can be important to recognize which type of data (at the end of the sentence e.g. string and int) belongs to which completion (in orange). This is described in next slide. Again, if you can't figure it out, </a:t>
            </a:r>
            <a:r>
              <a:rPr lang="en-US" sz="1600" b="0" i="0" dirty="0" err="1">
                <a:effectLst/>
                <a:latin typeface="Söhne"/>
              </a:rPr>
              <a:t>chatGPT</a:t>
            </a:r>
            <a:r>
              <a:rPr lang="en-US" sz="1600" b="0" i="0" dirty="0">
                <a:effectLst/>
                <a:latin typeface="Söhne"/>
              </a:rPr>
              <a:t> may be able to help if you continue asking</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6" name="Afbeelding 5">
            <a:extLst>
              <a:ext uri="{FF2B5EF4-FFF2-40B4-BE49-F238E27FC236}">
                <a16:creationId xmlns:a16="http://schemas.microsoft.com/office/drawing/2014/main" id="{4FB682C9-4999-8FBA-E55C-0AF87EA3846D}"/>
              </a:ext>
            </a:extLst>
          </p:cNvPr>
          <p:cNvPicPr>
            <a:picLocks noChangeAspect="1"/>
          </p:cNvPicPr>
          <p:nvPr/>
        </p:nvPicPr>
        <p:blipFill>
          <a:blip r:embed="rId3"/>
          <a:stretch>
            <a:fillRect/>
          </a:stretch>
        </p:blipFill>
        <p:spPr>
          <a:xfrm>
            <a:off x="403879" y="1902307"/>
            <a:ext cx="5463594" cy="2508481"/>
          </a:xfrm>
          <a:prstGeom prst="rect">
            <a:avLst/>
          </a:prstGeom>
        </p:spPr>
      </p:pic>
      <p:sp>
        <p:nvSpPr>
          <p:cNvPr id="8" name="Ovaal 7">
            <a:extLst>
              <a:ext uri="{FF2B5EF4-FFF2-40B4-BE49-F238E27FC236}">
                <a16:creationId xmlns:a16="http://schemas.microsoft.com/office/drawing/2014/main" id="{31E69D94-6789-B12A-8F82-9A53326D89FA}"/>
              </a:ext>
            </a:extLst>
          </p:cNvPr>
          <p:cNvSpPr/>
          <p:nvPr/>
        </p:nvSpPr>
        <p:spPr>
          <a:xfrm>
            <a:off x="4223657" y="2980714"/>
            <a:ext cx="337457" cy="304800"/>
          </a:xfrm>
          <a:prstGeom prst="ellipse">
            <a:avLst/>
          </a:pr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0" name="Afbeelding 9">
            <a:extLst>
              <a:ext uri="{FF2B5EF4-FFF2-40B4-BE49-F238E27FC236}">
                <a16:creationId xmlns:a16="http://schemas.microsoft.com/office/drawing/2014/main" id="{4CD09381-CBC4-99DD-4CCC-B57E00B181C8}"/>
              </a:ext>
            </a:extLst>
          </p:cNvPr>
          <p:cNvPicPr>
            <a:picLocks noChangeAspect="1"/>
          </p:cNvPicPr>
          <p:nvPr/>
        </p:nvPicPr>
        <p:blipFill rotWithShape="1">
          <a:blip r:embed="rId4"/>
          <a:srcRect t="-11081" r="26449" b="1"/>
          <a:stretch/>
        </p:blipFill>
        <p:spPr>
          <a:xfrm>
            <a:off x="5996168" y="1807029"/>
            <a:ext cx="5791953" cy="1045028"/>
          </a:xfrm>
          <a:prstGeom prst="rect">
            <a:avLst/>
          </a:prstGeom>
        </p:spPr>
      </p:pic>
      <p:sp>
        <p:nvSpPr>
          <p:cNvPr id="11" name="Ovaal 10">
            <a:extLst>
              <a:ext uri="{FF2B5EF4-FFF2-40B4-BE49-F238E27FC236}">
                <a16:creationId xmlns:a16="http://schemas.microsoft.com/office/drawing/2014/main" id="{23DABE27-BCF8-E79C-1E27-C2787B9F1634}"/>
              </a:ext>
            </a:extLst>
          </p:cNvPr>
          <p:cNvSpPr/>
          <p:nvPr/>
        </p:nvSpPr>
        <p:spPr>
          <a:xfrm>
            <a:off x="7881258" y="2031273"/>
            <a:ext cx="315686" cy="385356"/>
          </a:xfrm>
          <a:prstGeom prst="ellipse">
            <a:avLst/>
          </a:pr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098907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erschillende datatype en uitleg</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5262979"/>
          </a:xfrm>
          <a:prstGeom prst="rect">
            <a:avLst/>
          </a:prstGeom>
          <a:noFill/>
        </p:spPr>
        <p:txBody>
          <a:bodyPr wrap="square">
            <a:spAutoFit/>
          </a:bodyPr>
          <a:lstStyle/>
          <a:p>
            <a:pPr marL="285750" indent="-285750" algn="l">
              <a:buFont typeface="Arial" panose="020B0604020202020204" pitchFamily="34" charset="0"/>
              <a:buChar char="•"/>
            </a:pPr>
            <a:r>
              <a:rPr lang="nl-NL" sz="1600" b="1" dirty="0" err="1">
                <a:latin typeface="Söhne"/>
              </a:rPr>
              <a:t>Boolean</a:t>
            </a:r>
            <a:r>
              <a:rPr lang="nl-NL" sz="1600" b="1" dirty="0">
                <a:latin typeface="Söhne"/>
              </a:rPr>
              <a:t>: </a:t>
            </a:r>
            <a:r>
              <a:rPr lang="en-US" sz="1600" b="0" i="0" dirty="0">
                <a:solidFill>
                  <a:srgbClr val="0D0D0D"/>
                </a:solidFill>
                <a:effectLst/>
                <a:latin typeface="Söhne"/>
              </a:rPr>
              <a:t>A data type that can only take two possible values: true (True) or false (False).VB: "True"^^</a:t>
            </a:r>
            <a:r>
              <a:rPr lang="en-US" sz="1600" b="0" i="0" dirty="0" err="1">
                <a:solidFill>
                  <a:srgbClr val="0D0D0D"/>
                </a:solidFill>
                <a:effectLst/>
                <a:latin typeface="Söhne"/>
              </a:rPr>
              <a:t>xsd:boolean</a:t>
            </a:r>
            <a:endParaRPr lang="en-US" sz="1600" b="0" i="0" dirty="0">
              <a:solidFill>
                <a:srgbClr val="0D0D0D"/>
              </a:solidFill>
              <a:effectLst/>
              <a:latin typeface="Söhne"/>
            </a:endParaRPr>
          </a:p>
          <a:p>
            <a:pPr marL="285750" indent="-285750" algn="l">
              <a:buFont typeface="Arial" panose="020B0604020202020204" pitchFamily="34" charset="0"/>
              <a:buChar char="•"/>
            </a:pPr>
            <a:endParaRPr lang="nl-NL" sz="1600" b="0" i="0" dirty="0">
              <a:solidFill>
                <a:srgbClr val="0D0D0D"/>
              </a:solidFill>
              <a:effectLst/>
              <a:latin typeface="Söhne"/>
            </a:endParaRPr>
          </a:p>
          <a:p>
            <a:pPr marL="285750" indent="-285750" algn="l">
              <a:buFont typeface="Arial" panose="020B0604020202020204" pitchFamily="34" charset="0"/>
              <a:buChar char="•"/>
            </a:pPr>
            <a:r>
              <a:rPr lang="nl-NL" sz="1600" b="1" dirty="0">
                <a:solidFill>
                  <a:srgbClr val="0D0D0D"/>
                </a:solidFill>
                <a:latin typeface="Söhne"/>
              </a:rPr>
              <a:t>Integer: </a:t>
            </a:r>
            <a:r>
              <a:rPr lang="en-US" sz="1600" dirty="0">
                <a:solidFill>
                  <a:srgbClr val="0D0D0D"/>
                </a:solidFill>
                <a:latin typeface="Söhne"/>
              </a:rPr>
              <a:t>An integer without decimals, positive or </a:t>
            </a:r>
            <a:r>
              <a:rPr lang="en-US" sz="1600" dirty="0" err="1">
                <a:solidFill>
                  <a:srgbClr val="0D0D0D"/>
                </a:solidFill>
                <a:latin typeface="Söhne"/>
              </a:rPr>
              <a:t>negative.VB</a:t>
            </a:r>
            <a:r>
              <a:rPr lang="en-US" sz="1600" dirty="0">
                <a:solidFill>
                  <a:srgbClr val="0D0D0D"/>
                </a:solidFill>
                <a:latin typeface="Söhne"/>
              </a:rPr>
              <a:t>: "50" ^^ </a:t>
            </a:r>
            <a:r>
              <a:rPr lang="en-US" sz="1600" dirty="0" err="1">
                <a:solidFill>
                  <a:srgbClr val="0D0D0D"/>
                </a:solidFill>
                <a:latin typeface="Söhne"/>
              </a:rPr>
              <a:t>xsd:int</a:t>
            </a:r>
            <a:endParaRPr lang="en-US" sz="1600" dirty="0">
              <a:solidFill>
                <a:srgbClr val="0D0D0D"/>
              </a:solidFill>
              <a:latin typeface="Söhne"/>
            </a:endParaRPr>
          </a:p>
          <a:p>
            <a:pPr marL="285750" indent="-285750" algn="l">
              <a:buFont typeface="Arial" panose="020B0604020202020204" pitchFamily="34" charset="0"/>
              <a:buChar char="•"/>
            </a:pPr>
            <a:endParaRPr lang="nl-NL" sz="1600" dirty="0">
              <a:solidFill>
                <a:srgbClr val="0D0D0D"/>
              </a:solidFill>
              <a:latin typeface="Söhne"/>
            </a:endParaRPr>
          </a:p>
          <a:p>
            <a:pPr marL="285750" indent="-285750" algn="l">
              <a:buFont typeface="Arial" panose="020B0604020202020204" pitchFamily="34" charset="0"/>
              <a:buChar char="•"/>
            </a:pPr>
            <a:r>
              <a:rPr lang="nl-NL" sz="1600" b="1" i="0" dirty="0">
                <a:solidFill>
                  <a:srgbClr val="0D0D0D"/>
                </a:solidFill>
                <a:effectLst/>
                <a:latin typeface="Söhne"/>
              </a:rPr>
              <a:t>String: </a:t>
            </a:r>
            <a:r>
              <a:rPr lang="en-US" sz="1600" dirty="0">
                <a:solidFill>
                  <a:srgbClr val="0D0D0D"/>
                </a:solidFill>
                <a:latin typeface="Söhne"/>
              </a:rPr>
              <a:t>A string of characters, such as letters, numbers and special </a:t>
            </a:r>
            <a:r>
              <a:rPr lang="en-US" sz="1600" dirty="0" err="1">
                <a:solidFill>
                  <a:srgbClr val="0D0D0D"/>
                </a:solidFill>
                <a:latin typeface="Söhne"/>
              </a:rPr>
              <a:t>characters.VB</a:t>
            </a:r>
            <a:r>
              <a:rPr lang="en-US" sz="1600" dirty="0">
                <a:solidFill>
                  <a:srgbClr val="0D0D0D"/>
                </a:solidFill>
                <a:latin typeface="Söhne"/>
              </a:rPr>
              <a:t>: "3d5rFF " ^^ </a:t>
            </a:r>
            <a:r>
              <a:rPr lang="en-US" sz="1600" dirty="0" err="1">
                <a:solidFill>
                  <a:srgbClr val="0D0D0D"/>
                </a:solidFill>
                <a:latin typeface="Söhne"/>
              </a:rPr>
              <a:t>xsd:string</a:t>
            </a:r>
            <a:endParaRPr lang="en-US" sz="1600" dirty="0">
              <a:solidFill>
                <a:srgbClr val="0D0D0D"/>
              </a:solidFill>
              <a:latin typeface="Söhne"/>
            </a:endParaRPr>
          </a:p>
          <a:p>
            <a:pPr marL="285750" indent="-285750" algn="l">
              <a:buFont typeface="Arial" panose="020B0604020202020204" pitchFamily="34" charset="0"/>
              <a:buChar char="•"/>
            </a:pPr>
            <a:endParaRPr lang="nl-NL" sz="1600" dirty="0">
              <a:solidFill>
                <a:srgbClr val="0D0D0D"/>
              </a:solidFill>
              <a:latin typeface="Söhne"/>
            </a:endParaRPr>
          </a:p>
          <a:p>
            <a:pPr marL="285750" indent="-285750" algn="l">
              <a:buFont typeface="Arial" panose="020B0604020202020204" pitchFamily="34" charset="0"/>
              <a:buChar char="•"/>
            </a:pPr>
            <a:r>
              <a:rPr lang="nl-NL" sz="1600" b="1" dirty="0" err="1">
                <a:latin typeface="Söhne"/>
              </a:rPr>
              <a:t>Decimal</a:t>
            </a:r>
            <a:r>
              <a:rPr lang="nl-NL" sz="1600" b="1" dirty="0">
                <a:latin typeface="Söhne"/>
              </a:rPr>
              <a:t>: </a:t>
            </a:r>
            <a:r>
              <a:rPr lang="en-US" sz="1600" dirty="0">
                <a:latin typeface="Söhne"/>
              </a:rPr>
              <a:t>A decimal number with any number of decimal places. </a:t>
            </a:r>
          </a:p>
          <a:p>
            <a:pPr marL="285750" indent="-285750" algn="l">
              <a:buFont typeface="Arial" panose="020B0604020202020204" pitchFamily="34" charset="0"/>
              <a:buChar char="•"/>
            </a:pPr>
            <a:r>
              <a:rPr lang="en-US" sz="1600" dirty="0">
                <a:latin typeface="Söhne"/>
              </a:rPr>
              <a:t>VB: "0.5" ^^</a:t>
            </a:r>
            <a:r>
              <a:rPr lang="en-US" sz="1600" dirty="0" err="1">
                <a:latin typeface="Söhne"/>
              </a:rPr>
              <a:t>xsd:decimal</a:t>
            </a:r>
            <a:endParaRPr lang="en-US"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spTree>
    <p:extLst>
      <p:ext uri="{BB962C8B-B14F-4D97-AF65-F5344CB8AC3E}">
        <p14:creationId xmlns:p14="http://schemas.microsoft.com/office/powerpoint/2010/main" val="24832562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roleer de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859858" y="2191381"/>
            <a:ext cx="10472284" cy="9941183"/>
          </a:xfrm>
          <a:prstGeom prst="rect">
            <a:avLst/>
          </a:prstGeom>
          <a:noFill/>
        </p:spPr>
        <p:txBody>
          <a:bodyPr wrap="square">
            <a:spAutoFit/>
          </a:bodyPr>
          <a:lstStyle/>
          <a:p>
            <a:pPr algn="l"/>
            <a:r>
              <a:rPr lang="en-US" sz="1600" b="1" i="0" dirty="0">
                <a:solidFill>
                  <a:srgbClr val="FF0000"/>
                </a:solidFill>
                <a:effectLst/>
                <a:latin typeface="Söhne"/>
              </a:rPr>
              <a:t>At this time, the converter does not yet convert the DPP ontology. This means that it is not included in the previous step. Should this be updated in the future, previous steps should be completed with the new converter. Now the following steps can be done using a practice RDF file available in </a:t>
            </a:r>
            <a:r>
              <a:rPr lang="en-US" sz="1600" b="1" i="0" dirty="0" err="1">
                <a:solidFill>
                  <a:srgbClr val="FF0000"/>
                </a:solidFill>
                <a:effectLst/>
                <a:latin typeface="Söhne"/>
              </a:rPr>
              <a:t>github</a:t>
            </a:r>
            <a:r>
              <a:rPr lang="en-US" sz="1600" b="1" i="0" dirty="0">
                <a:solidFill>
                  <a:srgbClr val="FF0000"/>
                </a:solidFill>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spTree>
    <p:extLst>
      <p:ext uri="{BB962C8B-B14F-4D97-AF65-F5344CB8AC3E}">
        <p14:creationId xmlns:p14="http://schemas.microsoft.com/office/powerpoint/2010/main" val="1145893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524315"/>
          </a:xfrm>
          <a:prstGeom prst="rect">
            <a:avLst/>
          </a:prstGeom>
          <a:noFill/>
        </p:spPr>
        <p:txBody>
          <a:bodyPr wrap="square">
            <a:spAutoFit/>
          </a:bodyPr>
          <a:lstStyle/>
          <a:p>
            <a:pPr marL="342900" indent="-342900" algn="l">
              <a:buAutoNum type="arabicPeriod"/>
            </a:pPr>
            <a:r>
              <a:rPr lang="en-US" sz="1600" dirty="0">
                <a:latin typeface="Söhne"/>
              </a:rPr>
              <a:t>Download the </a:t>
            </a:r>
            <a:r>
              <a:rPr lang="en-US" sz="1600" dirty="0" err="1">
                <a:latin typeface="Söhne"/>
              </a:rPr>
              <a:t>PySHACL_TEST_Environment</a:t>
            </a:r>
            <a:r>
              <a:rPr lang="en-US" sz="1600" dirty="0">
                <a:latin typeface="Söhne"/>
              </a:rPr>
              <a:t> file from </a:t>
            </a:r>
            <a:r>
              <a:rPr lang="en-US" sz="1600" dirty="0" err="1">
                <a:latin typeface="Söhne"/>
              </a:rPr>
              <a:t>Github</a:t>
            </a:r>
            <a:r>
              <a:rPr lang="en-US" sz="1600" dirty="0">
                <a:latin typeface="Söhne"/>
              </a:rPr>
              <a:t> along with the SHACL file. Save it in your python environment</a:t>
            </a:r>
          </a:p>
          <a:p>
            <a:pPr marL="342900" indent="-342900" algn="l">
              <a:buAutoNum type="arabicPeriod"/>
            </a:pPr>
            <a:endParaRPr lang="nl-NL" sz="1600" dirty="0">
              <a:latin typeface="Söhne"/>
            </a:endParaRPr>
          </a:p>
          <a:p>
            <a:pPr marL="342900" indent="-342900" algn="l">
              <a:buAutoNum type="arabicPeriod"/>
            </a:pPr>
            <a:r>
              <a:rPr lang="en-US" sz="1600" dirty="0">
                <a:latin typeface="Söhne"/>
              </a:rPr>
              <a:t>Import the required packages (as described in slide 6) contained in the </a:t>
            </a:r>
            <a:r>
              <a:rPr lang="en-US" sz="1600" dirty="0" err="1">
                <a:latin typeface="Söhne"/>
              </a:rPr>
              <a:t>PySHACL</a:t>
            </a:r>
            <a:r>
              <a:rPr lang="en-US" sz="1600" dirty="0">
                <a:latin typeface="Söhne"/>
              </a:rPr>
              <a:t> file. </a:t>
            </a:r>
          </a:p>
          <a:p>
            <a:pPr marL="342900" indent="-342900" algn="l">
              <a:buAutoNum type="arabicPeriod"/>
            </a:pPr>
            <a:endParaRPr lang="nl-NL" sz="1600" dirty="0">
              <a:latin typeface="Söhne"/>
            </a:endParaRPr>
          </a:p>
          <a:p>
            <a:pPr algn="l"/>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D284DFF6-961E-1D39-3A52-B384B8196567}"/>
              </a:ext>
            </a:extLst>
          </p:cNvPr>
          <p:cNvPicPr>
            <a:picLocks noChangeAspect="1"/>
          </p:cNvPicPr>
          <p:nvPr/>
        </p:nvPicPr>
        <p:blipFill>
          <a:blip r:embed="rId3"/>
          <a:stretch>
            <a:fillRect/>
          </a:stretch>
        </p:blipFill>
        <p:spPr>
          <a:xfrm>
            <a:off x="637413" y="2956006"/>
            <a:ext cx="10917174" cy="2476846"/>
          </a:xfrm>
          <a:prstGeom prst="rect">
            <a:avLst/>
          </a:prstGeom>
        </p:spPr>
      </p:pic>
    </p:spTree>
    <p:extLst>
      <p:ext uri="{BB962C8B-B14F-4D97-AF65-F5344CB8AC3E}">
        <p14:creationId xmlns:p14="http://schemas.microsoft.com/office/powerpoint/2010/main" val="40448258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278094"/>
          </a:xfrm>
          <a:prstGeom prst="rect">
            <a:avLst/>
          </a:prstGeom>
          <a:noFill/>
          <a:ln>
            <a:noFill/>
          </a:ln>
        </p:spPr>
        <p:txBody>
          <a:bodyPr wrap="square">
            <a:spAutoFit/>
          </a:bodyPr>
          <a:lstStyle/>
          <a:p>
            <a:pPr marL="342900" indent="-342900" algn="l">
              <a:buAutoNum type="arabicPeriod"/>
            </a:pPr>
            <a:r>
              <a:rPr lang="en-US" sz="1600" dirty="0">
                <a:latin typeface="Söhne"/>
              </a:rPr>
              <a:t>Enter the name of the </a:t>
            </a:r>
            <a:r>
              <a:rPr lang="en-US" sz="1600" dirty="0" err="1">
                <a:latin typeface="Söhne"/>
              </a:rPr>
              <a:t>ttl</a:t>
            </a:r>
            <a:r>
              <a:rPr lang="en-US" sz="1600" dirty="0">
                <a:latin typeface="Söhne"/>
              </a:rPr>
              <a:t> file (RDF). Don't forget to name the folder name with † if it is stored in a folder (in line 17, see figure). In the example, the </a:t>
            </a:r>
            <a:r>
              <a:rPr lang="en-US" sz="1600" dirty="0" err="1">
                <a:latin typeface="Söhne"/>
              </a:rPr>
              <a:t>ttl</a:t>
            </a:r>
            <a:r>
              <a:rPr lang="en-US" sz="1600" dirty="0">
                <a:latin typeface="Söhne"/>
              </a:rPr>
              <a:t> file is stored in the folder named 'files'. </a:t>
            </a:r>
          </a:p>
          <a:p>
            <a:pPr marL="342900" indent="-342900" algn="l">
              <a:buAutoNum type="arabicPeriod"/>
            </a:pPr>
            <a:endParaRPr lang="nl-NL" sz="1600" dirty="0">
              <a:latin typeface="Söhne"/>
            </a:endParaRPr>
          </a:p>
          <a:p>
            <a:pPr marL="342900" indent="-342900" algn="l">
              <a:buAutoNum type="arabicPeriod"/>
            </a:pPr>
            <a:r>
              <a:rPr lang="en-US" sz="1600" dirty="0">
                <a:latin typeface="Söhne"/>
              </a:rPr>
              <a:t>Run the code by clicking on the arrow at the top right as described in slide 9</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algn="l"/>
            <a:endParaRPr lang="nl-NL" sz="1600" i="1" u="sng" dirty="0">
              <a:solidFill>
                <a:srgbClr val="FF0000"/>
              </a:solidFill>
              <a:latin typeface="Söhne"/>
            </a:endParaRPr>
          </a:p>
          <a:p>
            <a:pPr algn="l"/>
            <a:r>
              <a:rPr lang="en-US" sz="1600" i="1" u="sng" dirty="0">
                <a:solidFill>
                  <a:srgbClr val="FF0000"/>
                </a:solidFill>
                <a:latin typeface="Söhne"/>
              </a:rPr>
              <a:t>If you want to practice with the validation tool start at this step by using practice </a:t>
            </a:r>
            <a:r>
              <a:rPr lang="en-US" sz="1600" i="1" u="sng" dirty="0" err="1">
                <a:solidFill>
                  <a:srgbClr val="FF0000"/>
                </a:solidFill>
                <a:latin typeface="Söhne"/>
              </a:rPr>
              <a:t>fileX</a:t>
            </a:r>
            <a:r>
              <a:rPr lang="en-US" sz="1600" i="1" u="sng" dirty="0">
                <a:solidFill>
                  <a:srgbClr val="FF0000"/>
                </a:solidFill>
                <a:latin typeface="Söhne"/>
              </a:rPr>
              <a:t>. You can download this from </a:t>
            </a:r>
            <a:r>
              <a:rPr lang="en-US" sz="1600" i="1" u="sng" dirty="0" err="1">
                <a:solidFill>
                  <a:srgbClr val="FF0000"/>
                </a:solidFill>
                <a:latin typeface="Söhne"/>
              </a:rPr>
              <a:t>Github</a:t>
            </a:r>
            <a:r>
              <a:rPr lang="en-US" sz="1600" i="1" u="sng" dirty="0">
                <a:solidFill>
                  <a:srgbClr val="FF0000"/>
                </a:solidFill>
                <a:latin typeface="Söhne"/>
              </a:rPr>
              <a:t>. </a:t>
            </a:r>
          </a:p>
          <a:p>
            <a:pPr algn="l"/>
            <a:endParaRPr lang="nl-NL" sz="1600" dirty="0">
              <a:latin typeface="Söhne"/>
            </a:endParaRPr>
          </a:p>
        </p:txBody>
      </p:sp>
      <p:pic>
        <p:nvPicPr>
          <p:cNvPr id="5" name="Afbeelding 4">
            <a:extLst>
              <a:ext uri="{FF2B5EF4-FFF2-40B4-BE49-F238E27FC236}">
                <a16:creationId xmlns:a16="http://schemas.microsoft.com/office/drawing/2014/main" id="{C1FA769F-B94A-0CE5-B5C8-61F9E2126D0E}"/>
              </a:ext>
            </a:extLst>
          </p:cNvPr>
          <p:cNvPicPr>
            <a:picLocks noChangeAspect="1"/>
          </p:cNvPicPr>
          <p:nvPr/>
        </p:nvPicPr>
        <p:blipFill>
          <a:blip r:embed="rId3"/>
          <a:stretch>
            <a:fillRect/>
          </a:stretch>
        </p:blipFill>
        <p:spPr>
          <a:xfrm>
            <a:off x="708604" y="2545440"/>
            <a:ext cx="10710508" cy="2343656"/>
          </a:xfrm>
          <a:prstGeom prst="rect">
            <a:avLst/>
          </a:prstGeom>
        </p:spPr>
      </p:pic>
    </p:spTree>
    <p:extLst>
      <p:ext uri="{BB962C8B-B14F-4D97-AF65-F5344CB8AC3E}">
        <p14:creationId xmlns:p14="http://schemas.microsoft.com/office/powerpoint/2010/main" val="3853690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278094"/>
          </a:xfrm>
          <a:prstGeom prst="rect">
            <a:avLst/>
          </a:prstGeom>
          <a:noFill/>
          <a:ln>
            <a:noFill/>
          </a:ln>
        </p:spPr>
        <p:txBody>
          <a:bodyPr wrap="square">
            <a:spAutoFit/>
          </a:bodyPr>
          <a:lstStyle/>
          <a:p>
            <a:pPr marL="342900" indent="-342900" algn="l">
              <a:buAutoNum type="arabicPeriod"/>
            </a:pPr>
            <a:r>
              <a:rPr lang="en-US" sz="1600" dirty="0">
                <a:latin typeface="Söhne"/>
              </a:rPr>
              <a:t>The validation report can be found within the VSC environment as well as downloaded as a PDF in the same folder where the RDF is stored. The PDF also contains the missing classes (i.e. when a topic is missing in its entirety). The terminal in VSC only contains missing properties (when a topic is present but not all its information is complete).</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E6DCF8B3-445E-38A3-E0B3-F6E7EF7BA983}"/>
              </a:ext>
            </a:extLst>
          </p:cNvPr>
          <p:cNvPicPr>
            <a:picLocks noChangeAspect="1"/>
          </p:cNvPicPr>
          <p:nvPr/>
        </p:nvPicPr>
        <p:blipFill>
          <a:blip r:embed="rId3"/>
          <a:stretch>
            <a:fillRect/>
          </a:stretch>
        </p:blipFill>
        <p:spPr>
          <a:xfrm>
            <a:off x="2172214" y="2320616"/>
            <a:ext cx="7237969" cy="3846184"/>
          </a:xfrm>
          <a:prstGeom prst="rect">
            <a:avLst/>
          </a:prstGeom>
        </p:spPr>
      </p:pic>
      <p:cxnSp>
        <p:nvCxnSpPr>
          <p:cNvPr id="9" name="Rechte verbindingslijn met pijl 8">
            <a:extLst>
              <a:ext uri="{FF2B5EF4-FFF2-40B4-BE49-F238E27FC236}">
                <a16:creationId xmlns:a16="http://schemas.microsoft.com/office/drawing/2014/main" id="{EBB37A7A-64AB-FA76-5C75-198079249833}"/>
              </a:ext>
            </a:extLst>
          </p:cNvPr>
          <p:cNvCxnSpPr/>
          <p:nvPr/>
        </p:nvCxnSpPr>
        <p:spPr>
          <a:xfrm>
            <a:off x="1686078" y="2708476"/>
            <a:ext cx="486136"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Rechte verbindingslijn met pijl 10">
            <a:extLst>
              <a:ext uri="{FF2B5EF4-FFF2-40B4-BE49-F238E27FC236}">
                <a16:creationId xmlns:a16="http://schemas.microsoft.com/office/drawing/2014/main" id="{FECDDC52-2CC4-7BDB-4690-A6A8632204D3}"/>
              </a:ext>
            </a:extLst>
          </p:cNvPr>
          <p:cNvCxnSpPr/>
          <p:nvPr/>
        </p:nvCxnSpPr>
        <p:spPr>
          <a:xfrm>
            <a:off x="1778607" y="5817303"/>
            <a:ext cx="690722"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6698123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7" name="Tekstvak 6">
            <a:extLst>
              <a:ext uri="{FF2B5EF4-FFF2-40B4-BE49-F238E27FC236}">
                <a16:creationId xmlns:a16="http://schemas.microsoft.com/office/drawing/2014/main" id="{6130060B-082D-F851-D95A-F23B46F433C6}"/>
              </a:ext>
            </a:extLst>
          </p:cNvPr>
          <p:cNvSpPr txBox="1"/>
          <p:nvPr/>
        </p:nvSpPr>
        <p:spPr>
          <a:xfrm>
            <a:off x="859858" y="1163713"/>
            <a:ext cx="10472284" cy="830997"/>
          </a:xfrm>
          <a:prstGeom prst="rect">
            <a:avLst/>
          </a:prstGeom>
          <a:noFill/>
          <a:ln>
            <a:noFill/>
          </a:ln>
        </p:spPr>
        <p:txBody>
          <a:bodyPr wrap="square">
            <a:spAutoFit/>
          </a:bodyPr>
          <a:lstStyle/>
          <a:p>
            <a:pPr marL="342900" indent="-342900" algn="l">
              <a:buAutoNum type="arabicPeriod"/>
            </a:pPr>
            <a:r>
              <a:rPr lang="en-US" sz="1600" dirty="0">
                <a:latin typeface="Söhne"/>
              </a:rPr>
              <a:t>The example in VSC and in PDF</a:t>
            </a:r>
          </a:p>
          <a:p>
            <a:pPr marL="342900" indent="-342900" algn="l">
              <a:buAutoNum type="arabicPeriod"/>
            </a:pPr>
            <a:r>
              <a:rPr lang="en-US" sz="1600" dirty="0">
                <a:latin typeface="Söhne"/>
              </a:rPr>
              <a:t>See next slide for an example (in conjunction with this slide)</a:t>
            </a: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CCBD8B7F-B249-53A6-27A5-1D1C3144B3AD}"/>
              </a:ext>
            </a:extLst>
          </p:cNvPr>
          <p:cNvPicPr>
            <a:picLocks noChangeAspect="1"/>
          </p:cNvPicPr>
          <p:nvPr/>
        </p:nvPicPr>
        <p:blipFill>
          <a:blip r:embed="rId3"/>
          <a:stretch>
            <a:fillRect/>
          </a:stretch>
        </p:blipFill>
        <p:spPr>
          <a:xfrm>
            <a:off x="380649" y="1806378"/>
            <a:ext cx="6402362" cy="3173860"/>
          </a:xfrm>
          <a:prstGeom prst="rect">
            <a:avLst/>
          </a:prstGeom>
        </p:spPr>
      </p:pic>
      <p:pic>
        <p:nvPicPr>
          <p:cNvPr id="9" name="Afbeelding 8">
            <a:extLst>
              <a:ext uri="{FF2B5EF4-FFF2-40B4-BE49-F238E27FC236}">
                <a16:creationId xmlns:a16="http://schemas.microsoft.com/office/drawing/2014/main" id="{D108FD5E-A0FD-AFA1-98A3-ACDE1BC30FE6}"/>
              </a:ext>
            </a:extLst>
          </p:cNvPr>
          <p:cNvPicPr>
            <a:picLocks noChangeAspect="1"/>
          </p:cNvPicPr>
          <p:nvPr/>
        </p:nvPicPr>
        <p:blipFill>
          <a:blip r:embed="rId4"/>
          <a:stretch>
            <a:fillRect/>
          </a:stretch>
        </p:blipFill>
        <p:spPr>
          <a:xfrm>
            <a:off x="6835264" y="1877763"/>
            <a:ext cx="4492735" cy="2972117"/>
          </a:xfrm>
          <a:prstGeom prst="rect">
            <a:avLst/>
          </a:prstGeom>
        </p:spPr>
      </p:pic>
      <p:cxnSp>
        <p:nvCxnSpPr>
          <p:cNvPr id="11" name="Rechte verbindingslijn met pijl 10">
            <a:extLst>
              <a:ext uri="{FF2B5EF4-FFF2-40B4-BE49-F238E27FC236}">
                <a16:creationId xmlns:a16="http://schemas.microsoft.com/office/drawing/2014/main" id="{B719257B-7B55-DC43-2E2C-7EF22356D0E3}"/>
              </a:ext>
            </a:extLst>
          </p:cNvPr>
          <p:cNvCxnSpPr>
            <a:cxnSpLocks/>
          </p:cNvCxnSpPr>
          <p:nvPr/>
        </p:nvCxnSpPr>
        <p:spPr>
          <a:xfrm>
            <a:off x="10093124" y="1292988"/>
            <a:ext cx="0" cy="11865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kstvak 12">
            <a:extLst>
              <a:ext uri="{FF2B5EF4-FFF2-40B4-BE49-F238E27FC236}">
                <a16:creationId xmlns:a16="http://schemas.microsoft.com/office/drawing/2014/main" id="{FA0BD8ED-5E75-8325-8717-1ABA9F0F635A}"/>
              </a:ext>
            </a:extLst>
          </p:cNvPr>
          <p:cNvSpPr txBox="1"/>
          <p:nvPr/>
        </p:nvSpPr>
        <p:spPr>
          <a:xfrm>
            <a:off x="8686800" y="605536"/>
            <a:ext cx="2392718" cy="646331"/>
          </a:xfrm>
          <a:prstGeom prst="rect">
            <a:avLst/>
          </a:prstGeom>
          <a:noFill/>
        </p:spPr>
        <p:txBody>
          <a:bodyPr wrap="square" rtlCol="0">
            <a:spAutoFit/>
          </a:bodyPr>
          <a:lstStyle/>
          <a:p>
            <a:r>
              <a:rPr lang="nl-NL" dirty="0"/>
              <a:t>Missing subjects</a:t>
            </a:r>
          </a:p>
          <a:p>
            <a:r>
              <a:rPr lang="nl-NL" dirty="0"/>
              <a:t>(classes)</a:t>
            </a:r>
          </a:p>
        </p:txBody>
      </p:sp>
      <p:sp>
        <p:nvSpPr>
          <p:cNvPr id="14" name="Tekstvak 13">
            <a:extLst>
              <a:ext uri="{FF2B5EF4-FFF2-40B4-BE49-F238E27FC236}">
                <a16:creationId xmlns:a16="http://schemas.microsoft.com/office/drawing/2014/main" id="{B35AA210-CC32-1DE3-DB03-C2B61186BA1B}"/>
              </a:ext>
            </a:extLst>
          </p:cNvPr>
          <p:cNvSpPr txBox="1"/>
          <p:nvPr/>
        </p:nvSpPr>
        <p:spPr>
          <a:xfrm>
            <a:off x="7911226" y="5156316"/>
            <a:ext cx="1769683" cy="646331"/>
          </a:xfrm>
          <a:prstGeom prst="rect">
            <a:avLst/>
          </a:prstGeom>
          <a:noFill/>
        </p:spPr>
        <p:txBody>
          <a:bodyPr wrap="square" rtlCol="0">
            <a:spAutoFit/>
          </a:bodyPr>
          <a:lstStyle/>
          <a:p>
            <a:r>
              <a:rPr lang="nl-NL" dirty="0"/>
              <a:t>Missing </a:t>
            </a:r>
            <a:r>
              <a:rPr lang="nl-NL" dirty="0" err="1"/>
              <a:t>properties</a:t>
            </a:r>
            <a:endParaRPr lang="nl-NL" dirty="0"/>
          </a:p>
        </p:txBody>
      </p:sp>
      <p:cxnSp>
        <p:nvCxnSpPr>
          <p:cNvPr id="15" name="Rechte verbindingslijn met pijl 14">
            <a:extLst>
              <a:ext uri="{FF2B5EF4-FFF2-40B4-BE49-F238E27FC236}">
                <a16:creationId xmlns:a16="http://schemas.microsoft.com/office/drawing/2014/main" id="{F276E797-DC3A-B01B-72F5-06B3B42BEB2A}"/>
              </a:ext>
            </a:extLst>
          </p:cNvPr>
          <p:cNvCxnSpPr>
            <a:cxnSpLocks/>
          </p:cNvCxnSpPr>
          <p:nvPr/>
        </p:nvCxnSpPr>
        <p:spPr>
          <a:xfrm flipV="1">
            <a:off x="9462234" y="4849880"/>
            <a:ext cx="0" cy="6213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Rechte verbindingslijn met pijl 16">
            <a:extLst>
              <a:ext uri="{FF2B5EF4-FFF2-40B4-BE49-F238E27FC236}">
                <a16:creationId xmlns:a16="http://schemas.microsoft.com/office/drawing/2014/main" id="{D1731E4F-425A-3553-581B-C26B0328C776}"/>
              </a:ext>
            </a:extLst>
          </p:cNvPr>
          <p:cNvCxnSpPr>
            <a:cxnSpLocks/>
          </p:cNvCxnSpPr>
          <p:nvPr/>
        </p:nvCxnSpPr>
        <p:spPr>
          <a:xfrm flipV="1">
            <a:off x="4417601" y="4980238"/>
            <a:ext cx="0" cy="6682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kstvak 18">
            <a:extLst>
              <a:ext uri="{FF2B5EF4-FFF2-40B4-BE49-F238E27FC236}">
                <a16:creationId xmlns:a16="http://schemas.microsoft.com/office/drawing/2014/main" id="{FE8A4338-CB20-657A-4DB8-B122D66DABDC}"/>
              </a:ext>
            </a:extLst>
          </p:cNvPr>
          <p:cNvSpPr txBox="1"/>
          <p:nvPr/>
        </p:nvSpPr>
        <p:spPr>
          <a:xfrm>
            <a:off x="2926676" y="5044642"/>
            <a:ext cx="1769683" cy="646331"/>
          </a:xfrm>
          <a:prstGeom prst="rect">
            <a:avLst/>
          </a:prstGeom>
          <a:noFill/>
        </p:spPr>
        <p:txBody>
          <a:bodyPr wrap="square" rtlCol="0">
            <a:spAutoFit/>
          </a:bodyPr>
          <a:lstStyle/>
          <a:p>
            <a:r>
              <a:rPr lang="nl-NL" dirty="0"/>
              <a:t>Missing </a:t>
            </a:r>
            <a:r>
              <a:rPr lang="nl-NL" dirty="0" err="1"/>
              <a:t>properties</a:t>
            </a:r>
            <a:endParaRPr lang="nl-NL" dirty="0"/>
          </a:p>
        </p:txBody>
      </p:sp>
      <p:sp>
        <p:nvSpPr>
          <p:cNvPr id="4" name="Ovaal 3">
            <a:extLst>
              <a:ext uri="{FF2B5EF4-FFF2-40B4-BE49-F238E27FC236}">
                <a16:creationId xmlns:a16="http://schemas.microsoft.com/office/drawing/2014/main" id="{4C6B8301-CEE0-44A1-B3BA-01FEBD611CDE}"/>
              </a:ext>
            </a:extLst>
          </p:cNvPr>
          <p:cNvSpPr/>
          <p:nvPr/>
        </p:nvSpPr>
        <p:spPr>
          <a:xfrm>
            <a:off x="7078204" y="3442720"/>
            <a:ext cx="885275" cy="256592"/>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7395869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 classes en </a:t>
            </a:r>
            <a:r>
              <a:rPr lang="nl-NL" dirty="0" err="1"/>
              <a:t>properties</a:t>
            </a:r>
            <a:endParaRPr lang="nl-NL" dirty="0"/>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1077218"/>
          </a:xfrm>
          <a:prstGeom prst="rect">
            <a:avLst/>
          </a:prstGeom>
          <a:noFill/>
          <a:ln>
            <a:noFill/>
          </a:ln>
        </p:spPr>
        <p:txBody>
          <a:bodyPr wrap="square">
            <a:spAutoFit/>
          </a:bodyPr>
          <a:lstStyle/>
          <a:p>
            <a:pPr marL="342900" indent="-342900" algn="l">
              <a:buAutoNum type="arabicPeriod"/>
            </a:pPr>
            <a:r>
              <a:rPr lang="en-US" sz="1600" dirty="0">
                <a:latin typeface="Söhne"/>
              </a:rPr>
              <a:t>When an error message comes at the top of the file, it means that the subject does not appear at all (missing class). </a:t>
            </a:r>
          </a:p>
          <a:p>
            <a:pPr marL="342900" indent="-342900" algn="l">
              <a:buAutoNum type="arabicPeriod"/>
            </a:pPr>
            <a:r>
              <a:rPr lang="en-US" sz="1600" dirty="0">
                <a:latin typeface="Söhne"/>
              </a:rPr>
              <a:t>In this example, the classification code. If both the classification code (property) and the decomposition level (property) are missing, it will appear at the top of the PDF. If only the decomposition level is missing, it will appear at constraint violations</a:t>
            </a:r>
          </a:p>
        </p:txBody>
      </p:sp>
      <p:pic>
        <p:nvPicPr>
          <p:cNvPr id="5" name="Afbeelding 4">
            <a:extLst>
              <a:ext uri="{FF2B5EF4-FFF2-40B4-BE49-F238E27FC236}">
                <a16:creationId xmlns:a16="http://schemas.microsoft.com/office/drawing/2014/main" id="{28B81E75-CC6E-F46C-3DCE-0C36972B94C1}"/>
              </a:ext>
            </a:extLst>
          </p:cNvPr>
          <p:cNvPicPr>
            <a:picLocks noChangeAspect="1"/>
          </p:cNvPicPr>
          <p:nvPr/>
        </p:nvPicPr>
        <p:blipFill>
          <a:blip r:embed="rId3"/>
          <a:stretch>
            <a:fillRect/>
          </a:stretch>
        </p:blipFill>
        <p:spPr>
          <a:xfrm>
            <a:off x="1200090" y="2550953"/>
            <a:ext cx="5599298" cy="1488612"/>
          </a:xfrm>
          <a:prstGeom prst="rect">
            <a:avLst/>
          </a:prstGeom>
        </p:spPr>
      </p:pic>
      <p:pic>
        <p:nvPicPr>
          <p:cNvPr id="8" name="Afbeelding 7">
            <a:extLst>
              <a:ext uri="{FF2B5EF4-FFF2-40B4-BE49-F238E27FC236}">
                <a16:creationId xmlns:a16="http://schemas.microsoft.com/office/drawing/2014/main" id="{C9D5CA88-5F7C-ACEA-3B85-08079F4D22D5}"/>
              </a:ext>
            </a:extLst>
          </p:cNvPr>
          <p:cNvPicPr>
            <a:picLocks noChangeAspect="1"/>
          </p:cNvPicPr>
          <p:nvPr/>
        </p:nvPicPr>
        <p:blipFill>
          <a:blip r:embed="rId3"/>
          <a:stretch>
            <a:fillRect/>
          </a:stretch>
        </p:blipFill>
        <p:spPr>
          <a:xfrm>
            <a:off x="1200090" y="4082338"/>
            <a:ext cx="5599298" cy="1488612"/>
          </a:xfrm>
          <a:prstGeom prst="rect">
            <a:avLst/>
          </a:prstGeom>
        </p:spPr>
      </p:pic>
      <p:sp>
        <p:nvSpPr>
          <p:cNvPr id="9" name="Vermenigvuldigingsteken 8">
            <a:extLst>
              <a:ext uri="{FF2B5EF4-FFF2-40B4-BE49-F238E27FC236}">
                <a16:creationId xmlns:a16="http://schemas.microsoft.com/office/drawing/2014/main" id="{3840F3AF-C98C-7F54-FFBC-78079F832E78}"/>
              </a:ext>
            </a:extLst>
          </p:cNvPr>
          <p:cNvSpPr/>
          <p:nvPr/>
        </p:nvSpPr>
        <p:spPr>
          <a:xfrm>
            <a:off x="154082" y="2446864"/>
            <a:ext cx="5196257" cy="1872807"/>
          </a:xfrm>
          <a:prstGeom prst="mathMultiply">
            <a:avLst/>
          </a:prstGeom>
          <a:noFill/>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cxnSp>
        <p:nvCxnSpPr>
          <p:cNvPr id="12" name="Rechte verbindingslijn 11">
            <a:extLst>
              <a:ext uri="{FF2B5EF4-FFF2-40B4-BE49-F238E27FC236}">
                <a16:creationId xmlns:a16="http://schemas.microsoft.com/office/drawing/2014/main" id="{3A2EE3B1-DFF6-213B-F4EE-14469A3782B7}"/>
              </a:ext>
            </a:extLst>
          </p:cNvPr>
          <p:cNvCxnSpPr/>
          <p:nvPr/>
        </p:nvCxnSpPr>
        <p:spPr>
          <a:xfrm>
            <a:off x="1575726" y="5201876"/>
            <a:ext cx="3275636" cy="0"/>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1" name="Rechte verbindingslijn met pijl 10">
            <a:extLst>
              <a:ext uri="{FF2B5EF4-FFF2-40B4-BE49-F238E27FC236}">
                <a16:creationId xmlns:a16="http://schemas.microsoft.com/office/drawing/2014/main" id="{8565560C-BF0F-4507-E567-3FE1C014D418}"/>
              </a:ext>
            </a:extLst>
          </p:cNvPr>
          <p:cNvCxnSpPr>
            <a:cxnSpLocks/>
          </p:cNvCxnSpPr>
          <p:nvPr/>
        </p:nvCxnSpPr>
        <p:spPr>
          <a:xfrm>
            <a:off x="6948926" y="3638939"/>
            <a:ext cx="89647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Rechte verbindingslijn met pijl 14">
            <a:extLst>
              <a:ext uri="{FF2B5EF4-FFF2-40B4-BE49-F238E27FC236}">
                <a16:creationId xmlns:a16="http://schemas.microsoft.com/office/drawing/2014/main" id="{7B4921CC-43AF-239C-C8AB-190C36D16232}"/>
              </a:ext>
            </a:extLst>
          </p:cNvPr>
          <p:cNvCxnSpPr>
            <a:cxnSpLocks/>
          </p:cNvCxnSpPr>
          <p:nvPr/>
        </p:nvCxnSpPr>
        <p:spPr>
          <a:xfrm flipV="1">
            <a:off x="6948926" y="4319671"/>
            <a:ext cx="972764" cy="1528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 name="Afbeelding 9">
            <a:extLst>
              <a:ext uri="{FF2B5EF4-FFF2-40B4-BE49-F238E27FC236}">
                <a16:creationId xmlns:a16="http://schemas.microsoft.com/office/drawing/2014/main" id="{5563075B-5503-27D2-1F0B-F1A81CB18264}"/>
              </a:ext>
            </a:extLst>
          </p:cNvPr>
          <p:cNvPicPr>
            <a:picLocks noChangeAspect="1"/>
          </p:cNvPicPr>
          <p:nvPr/>
        </p:nvPicPr>
        <p:blipFill>
          <a:blip r:embed="rId4"/>
          <a:stretch>
            <a:fillRect/>
          </a:stretch>
        </p:blipFill>
        <p:spPr>
          <a:xfrm>
            <a:off x="7995561" y="2243403"/>
            <a:ext cx="2753109" cy="3419952"/>
          </a:xfrm>
          <a:prstGeom prst="rect">
            <a:avLst/>
          </a:prstGeom>
        </p:spPr>
      </p:pic>
    </p:spTree>
    <p:extLst>
      <p:ext uri="{BB962C8B-B14F-4D97-AF65-F5344CB8AC3E}">
        <p14:creationId xmlns:p14="http://schemas.microsoft.com/office/powerpoint/2010/main" val="24953267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Het uitlezen van het validatierapp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4" name="Afbeelding 3">
            <a:extLst>
              <a:ext uri="{FF2B5EF4-FFF2-40B4-BE49-F238E27FC236}">
                <a16:creationId xmlns:a16="http://schemas.microsoft.com/office/drawing/2014/main" id="{F0D0EF72-6522-4E42-8455-186AA48210A6}"/>
              </a:ext>
            </a:extLst>
          </p:cNvPr>
          <p:cNvPicPr>
            <a:picLocks noChangeAspect="1"/>
          </p:cNvPicPr>
          <p:nvPr/>
        </p:nvPicPr>
        <p:blipFill>
          <a:blip r:embed="rId3"/>
          <a:stretch>
            <a:fillRect/>
          </a:stretch>
        </p:blipFill>
        <p:spPr>
          <a:xfrm>
            <a:off x="635161" y="1292988"/>
            <a:ext cx="6677880" cy="4417674"/>
          </a:xfrm>
          <a:prstGeom prst="rect">
            <a:avLst/>
          </a:prstGeom>
        </p:spPr>
      </p:pic>
      <p:sp>
        <p:nvSpPr>
          <p:cNvPr id="6" name="Rechthoek 5">
            <a:extLst>
              <a:ext uri="{FF2B5EF4-FFF2-40B4-BE49-F238E27FC236}">
                <a16:creationId xmlns:a16="http://schemas.microsoft.com/office/drawing/2014/main" id="{5CA7B7F6-9D7A-79D5-A790-A36EC9C3ABC3}"/>
              </a:ext>
            </a:extLst>
          </p:cNvPr>
          <p:cNvSpPr/>
          <p:nvPr/>
        </p:nvSpPr>
        <p:spPr>
          <a:xfrm>
            <a:off x="4595149" y="5324354"/>
            <a:ext cx="1851950" cy="138897"/>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a:p>
        </p:txBody>
      </p:sp>
      <p:sp>
        <p:nvSpPr>
          <p:cNvPr id="10" name="Rechthoek 9">
            <a:extLst>
              <a:ext uri="{FF2B5EF4-FFF2-40B4-BE49-F238E27FC236}">
                <a16:creationId xmlns:a16="http://schemas.microsoft.com/office/drawing/2014/main" id="{7C656FFF-65B9-C1B8-ED1F-A7D7992E6A56}"/>
              </a:ext>
            </a:extLst>
          </p:cNvPr>
          <p:cNvSpPr/>
          <p:nvPr/>
        </p:nvSpPr>
        <p:spPr>
          <a:xfrm>
            <a:off x="1055687" y="5463251"/>
            <a:ext cx="2208374" cy="138897"/>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a:p>
        </p:txBody>
      </p:sp>
      <p:cxnSp>
        <p:nvCxnSpPr>
          <p:cNvPr id="15" name="Rechte verbindingslijn met pijl 14">
            <a:extLst>
              <a:ext uri="{FF2B5EF4-FFF2-40B4-BE49-F238E27FC236}">
                <a16:creationId xmlns:a16="http://schemas.microsoft.com/office/drawing/2014/main" id="{403B2671-E762-FD8C-1DE8-B54E89BC8E92}"/>
              </a:ext>
            </a:extLst>
          </p:cNvPr>
          <p:cNvCxnSpPr/>
          <p:nvPr/>
        </p:nvCxnSpPr>
        <p:spPr>
          <a:xfrm>
            <a:off x="7002684" y="2407534"/>
            <a:ext cx="1805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Rechte verbindingslijn met pijl 15">
            <a:extLst>
              <a:ext uri="{FF2B5EF4-FFF2-40B4-BE49-F238E27FC236}">
                <a16:creationId xmlns:a16="http://schemas.microsoft.com/office/drawing/2014/main" id="{667F625A-C994-B04C-8922-703B609ED9C8}"/>
              </a:ext>
            </a:extLst>
          </p:cNvPr>
          <p:cNvCxnSpPr/>
          <p:nvPr/>
        </p:nvCxnSpPr>
        <p:spPr>
          <a:xfrm>
            <a:off x="6611074" y="5442031"/>
            <a:ext cx="1805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kstvak 16">
            <a:extLst>
              <a:ext uri="{FF2B5EF4-FFF2-40B4-BE49-F238E27FC236}">
                <a16:creationId xmlns:a16="http://schemas.microsoft.com/office/drawing/2014/main" id="{90835E28-2F73-5405-7011-F118791CE24B}"/>
              </a:ext>
            </a:extLst>
          </p:cNvPr>
          <p:cNvSpPr txBox="1"/>
          <p:nvPr/>
        </p:nvSpPr>
        <p:spPr>
          <a:xfrm>
            <a:off x="7002684" y="2159907"/>
            <a:ext cx="1656617" cy="246221"/>
          </a:xfrm>
          <a:prstGeom prst="rect">
            <a:avLst/>
          </a:prstGeom>
          <a:noFill/>
        </p:spPr>
        <p:txBody>
          <a:bodyPr wrap="square" rtlCol="0">
            <a:spAutoFit/>
          </a:bodyPr>
          <a:lstStyle/>
          <a:p>
            <a:r>
              <a:rPr lang="nl-NL" sz="1000" dirty="0"/>
              <a:t>Missing in </a:t>
            </a:r>
            <a:r>
              <a:rPr lang="nl-NL" sz="1000" dirty="0" err="1"/>
              <a:t>totality</a:t>
            </a:r>
            <a:endParaRPr lang="nl-NL" sz="1000" dirty="0"/>
          </a:p>
        </p:txBody>
      </p:sp>
      <p:sp>
        <p:nvSpPr>
          <p:cNvPr id="18" name="Tekstvak 17">
            <a:extLst>
              <a:ext uri="{FF2B5EF4-FFF2-40B4-BE49-F238E27FC236}">
                <a16:creationId xmlns:a16="http://schemas.microsoft.com/office/drawing/2014/main" id="{19F6B2BB-16C2-0EE6-FEA5-67E50A58FF9D}"/>
              </a:ext>
            </a:extLst>
          </p:cNvPr>
          <p:cNvSpPr txBox="1"/>
          <p:nvPr/>
        </p:nvSpPr>
        <p:spPr>
          <a:xfrm>
            <a:off x="6618240" y="5138094"/>
            <a:ext cx="1127772" cy="261610"/>
          </a:xfrm>
          <a:prstGeom prst="rect">
            <a:avLst/>
          </a:prstGeom>
          <a:noFill/>
        </p:spPr>
        <p:txBody>
          <a:bodyPr wrap="square" rtlCol="0">
            <a:spAutoFit/>
          </a:bodyPr>
          <a:lstStyle/>
          <a:p>
            <a:r>
              <a:rPr lang="nl-NL" sz="1100" dirty="0"/>
              <a:t>The error </a:t>
            </a:r>
          </a:p>
        </p:txBody>
      </p:sp>
      <p:sp>
        <p:nvSpPr>
          <p:cNvPr id="19" name="Tekstvak 18">
            <a:extLst>
              <a:ext uri="{FF2B5EF4-FFF2-40B4-BE49-F238E27FC236}">
                <a16:creationId xmlns:a16="http://schemas.microsoft.com/office/drawing/2014/main" id="{CFAAC475-4B62-0FF7-A0F2-B7EC9802B226}"/>
              </a:ext>
            </a:extLst>
          </p:cNvPr>
          <p:cNvSpPr txBox="1"/>
          <p:nvPr/>
        </p:nvSpPr>
        <p:spPr>
          <a:xfrm>
            <a:off x="8835367" y="2159907"/>
            <a:ext cx="2253161" cy="553998"/>
          </a:xfrm>
          <a:prstGeom prst="rect">
            <a:avLst/>
          </a:prstGeom>
          <a:noFill/>
        </p:spPr>
        <p:txBody>
          <a:bodyPr wrap="square" rtlCol="0">
            <a:spAutoFit/>
          </a:bodyPr>
          <a:lstStyle/>
          <a:p>
            <a:r>
              <a:rPr lang="en-US" sz="1000" dirty="0" err="1"/>
              <a:t>Eg.</a:t>
            </a:r>
            <a:r>
              <a:rPr lang="en-US" sz="1000" dirty="0"/>
              <a:t> no information available about the origin of the elements in file transformation-</a:t>
            </a:r>
            <a:r>
              <a:rPr lang="en-US" sz="1000" dirty="0" err="1"/>
              <a:t>building_altered</a:t>
            </a:r>
            <a:endParaRPr lang="en-US" sz="1000" dirty="0"/>
          </a:p>
        </p:txBody>
      </p:sp>
      <p:sp>
        <p:nvSpPr>
          <p:cNvPr id="20" name="Tekstvak 19">
            <a:extLst>
              <a:ext uri="{FF2B5EF4-FFF2-40B4-BE49-F238E27FC236}">
                <a16:creationId xmlns:a16="http://schemas.microsoft.com/office/drawing/2014/main" id="{3A0C3F1E-2F5A-33F9-FFBB-09FFC74E6445}"/>
              </a:ext>
            </a:extLst>
          </p:cNvPr>
          <p:cNvSpPr txBox="1"/>
          <p:nvPr/>
        </p:nvSpPr>
        <p:spPr>
          <a:xfrm>
            <a:off x="8416724" y="5138094"/>
            <a:ext cx="2253161" cy="861774"/>
          </a:xfrm>
          <a:prstGeom prst="rect">
            <a:avLst/>
          </a:prstGeom>
          <a:noFill/>
        </p:spPr>
        <p:txBody>
          <a:bodyPr wrap="square" rtlCol="0">
            <a:spAutoFit/>
          </a:bodyPr>
          <a:lstStyle/>
          <a:p>
            <a:r>
              <a:rPr lang="en-US" sz="1000" dirty="0"/>
              <a:t>Within file </a:t>
            </a:r>
            <a:r>
              <a:rPr lang="en-US" sz="1000" dirty="0" err="1"/>
              <a:t>transformationbuilding_altered</a:t>
            </a:r>
            <a:r>
              <a:rPr lang="en-US" sz="1000" dirty="0"/>
              <a:t>, information about </a:t>
            </a:r>
            <a:r>
              <a:rPr lang="en-US" sz="1000" dirty="0" err="1"/>
              <a:t>ProjectAddress</a:t>
            </a:r>
            <a:r>
              <a:rPr lang="en-US" sz="1000" dirty="0"/>
              <a:t> is missing at instance (subject/object) building_109</a:t>
            </a:r>
          </a:p>
        </p:txBody>
      </p:sp>
    </p:spTree>
    <p:extLst>
      <p:ext uri="{BB962C8B-B14F-4D97-AF65-F5344CB8AC3E}">
        <p14:creationId xmlns:p14="http://schemas.microsoft.com/office/powerpoint/2010/main" val="2388035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e </a:t>
            </a:r>
            <a:r>
              <a:rPr lang="nl-NL" dirty="0" err="1"/>
              <a:t>underlying</a:t>
            </a:r>
            <a:r>
              <a:rPr lang="nl-NL" dirty="0"/>
              <a:t> steps</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945038" y="2056698"/>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491655" y="2355525"/>
            <a:ext cx="1649737" cy="1513469"/>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on re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the</a:t>
            </a:r>
            <a:r>
              <a:rPr lang="nl-NL" dirty="0"/>
              <a:t> model of </a:t>
            </a:r>
            <a:r>
              <a:rPr lang="nl-NL" dirty="0" err="1"/>
              <a:t>the</a:t>
            </a:r>
            <a:r>
              <a:rPr lang="nl-NL" dirty="0"/>
              <a:t> building/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trieve</a:t>
            </a:r>
            <a:r>
              <a:rPr lang="nl-NL" dirty="0"/>
              <a:t> data </a:t>
            </a:r>
          </a:p>
          <a:p>
            <a:pPr algn="ctr"/>
            <a:endParaRPr lang="nl-NL" dirty="0"/>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639361" y="1787681"/>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Validate</a:t>
            </a:r>
            <a:endParaRPr lang="nl-NL" dirty="0"/>
          </a:p>
          <a:p>
            <a:pPr algn="ctr"/>
            <a:r>
              <a:rPr lang="nl-NL" dirty="0"/>
              <a:t>The data </a:t>
            </a:r>
          </a:p>
          <a:p>
            <a:pPr algn="ctr"/>
            <a:endParaRPr lang="nl-NL" dirty="0"/>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Data </a:t>
            </a:r>
            <a:r>
              <a:rPr lang="nl-NL" dirty="0" err="1"/>
              <a:t>verification</a:t>
            </a:r>
            <a:r>
              <a:rPr lang="nl-NL" dirty="0"/>
              <a:t> (SHACL) of </a:t>
            </a:r>
            <a:r>
              <a:rPr lang="nl-NL" dirty="0" err="1"/>
              <a:t>the</a:t>
            </a:r>
            <a:r>
              <a:rPr lang="nl-NL" dirty="0"/>
              <a:t>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eport </a:t>
            </a:r>
            <a:r>
              <a:rPr lang="nl-NL" dirty="0" err="1"/>
              <a:t>with</a:t>
            </a:r>
            <a:r>
              <a:rPr lang="nl-NL" dirty="0"/>
              <a:t> missing/</a:t>
            </a:r>
            <a:r>
              <a:rPr lang="nl-NL" dirty="0" err="1"/>
              <a:t>wrongly</a:t>
            </a:r>
            <a:r>
              <a:rPr lang="nl-NL" dirty="0"/>
              <a:t> </a:t>
            </a:r>
            <a:r>
              <a:rPr lang="nl-NL" dirty="0" err="1"/>
              <a:t>completed</a:t>
            </a:r>
            <a:r>
              <a:rPr lang="nl-NL" dirty="0"/>
              <a:t> </a:t>
            </a:r>
            <a:r>
              <a:rPr lang="nl-NL" dirty="0" err="1"/>
              <a:t>parts</a:t>
            </a:r>
            <a:endParaRPr lang="nl-NL" dirty="0"/>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BA7C8A4B-0C58-FC4E-3F71-0B174C3C0F27}"/>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Ontology</a:t>
            </a:r>
            <a:endParaRPr lang="nl-NL" dirty="0"/>
          </a:p>
        </p:txBody>
      </p:sp>
      <p:sp>
        <p:nvSpPr>
          <p:cNvPr id="21" name="Rechthoek 20">
            <a:extLst>
              <a:ext uri="{FF2B5EF4-FFF2-40B4-BE49-F238E27FC236}">
                <a16:creationId xmlns:a16="http://schemas.microsoft.com/office/drawing/2014/main" id="{E75BAC1C-CDA9-5FEF-0145-8F393B968ED7}"/>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a:t>
            </a:r>
            <a:r>
              <a:rPr lang="nl-NL" dirty="0" err="1"/>
              <a:t>lay</a:t>
            </a:r>
            <a:r>
              <a:rPr lang="nl-NL" dirty="0"/>
              <a:t> out’</a:t>
            </a:r>
          </a:p>
        </p:txBody>
      </p:sp>
    </p:spTree>
    <p:extLst>
      <p:ext uri="{BB962C8B-B14F-4D97-AF65-F5344CB8AC3E}">
        <p14:creationId xmlns:p14="http://schemas.microsoft.com/office/powerpoint/2010/main" val="3516489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en foutmelding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7" name="Afbeelding 6">
            <a:extLst>
              <a:ext uri="{FF2B5EF4-FFF2-40B4-BE49-F238E27FC236}">
                <a16:creationId xmlns:a16="http://schemas.microsoft.com/office/drawing/2014/main" id="{9EF494EF-9213-A0BD-BF31-E67B4E88BD0F}"/>
              </a:ext>
            </a:extLst>
          </p:cNvPr>
          <p:cNvPicPr>
            <a:picLocks noChangeAspect="1"/>
          </p:cNvPicPr>
          <p:nvPr/>
        </p:nvPicPr>
        <p:blipFill>
          <a:blip r:embed="rId3"/>
          <a:stretch>
            <a:fillRect/>
          </a:stretch>
        </p:blipFill>
        <p:spPr>
          <a:xfrm>
            <a:off x="3105187" y="1385584"/>
            <a:ext cx="5660187" cy="4413331"/>
          </a:xfrm>
          <a:prstGeom prst="rect">
            <a:avLst/>
          </a:prstGeom>
        </p:spPr>
      </p:pic>
      <p:sp>
        <p:nvSpPr>
          <p:cNvPr id="4" name="Tekstvak 3">
            <a:extLst>
              <a:ext uri="{FF2B5EF4-FFF2-40B4-BE49-F238E27FC236}">
                <a16:creationId xmlns:a16="http://schemas.microsoft.com/office/drawing/2014/main" id="{FAF63E35-476B-7E52-1BB2-7BD007611542}"/>
              </a:ext>
            </a:extLst>
          </p:cNvPr>
          <p:cNvSpPr txBox="1"/>
          <p:nvPr/>
        </p:nvSpPr>
        <p:spPr>
          <a:xfrm>
            <a:off x="8835367" y="2159907"/>
            <a:ext cx="2253161" cy="861774"/>
          </a:xfrm>
          <a:prstGeom prst="rect">
            <a:avLst/>
          </a:prstGeom>
          <a:noFill/>
        </p:spPr>
        <p:txBody>
          <a:bodyPr wrap="square" rtlCol="0">
            <a:spAutoFit/>
          </a:bodyPr>
          <a:lstStyle/>
          <a:p>
            <a:r>
              <a:rPr lang="en-US" sz="1000" dirty="0"/>
              <a:t>These four error messages belong to incorrectly entered data in the RDF document. The following slide shows how these are filled in incorrectly and how they should be filled in</a:t>
            </a:r>
          </a:p>
        </p:txBody>
      </p:sp>
    </p:spTree>
    <p:extLst>
      <p:ext uri="{BB962C8B-B14F-4D97-AF65-F5344CB8AC3E}">
        <p14:creationId xmlns:p14="http://schemas.microsoft.com/office/powerpoint/2010/main" val="39392678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en foutmelding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5" name="Afbeelding 4">
            <a:extLst>
              <a:ext uri="{FF2B5EF4-FFF2-40B4-BE49-F238E27FC236}">
                <a16:creationId xmlns:a16="http://schemas.microsoft.com/office/drawing/2014/main" id="{24642BB2-A5DE-448F-621A-26CAB58B8E4D}"/>
              </a:ext>
            </a:extLst>
          </p:cNvPr>
          <p:cNvPicPr>
            <a:picLocks noChangeAspect="1"/>
          </p:cNvPicPr>
          <p:nvPr/>
        </p:nvPicPr>
        <p:blipFill>
          <a:blip r:embed="rId3"/>
          <a:stretch>
            <a:fillRect/>
          </a:stretch>
        </p:blipFill>
        <p:spPr>
          <a:xfrm>
            <a:off x="1112483" y="2500303"/>
            <a:ext cx="7535327" cy="952633"/>
          </a:xfrm>
          <a:prstGeom prst="rect">
            <a:avLst/>
          </a:prstGeom>
        </p:spPr>
      </p:pic>
      <p:pic>
        <p:nvPicPr>
          <p:cNvPr id="8" name="Afbeelding 7">
            <a:extLst>
              <a:ext uri="{FF2B5EF4-FFF2-40B4-BE49-F238E27FC236}">
                <a16:creationId xmlns:a16="http://schemas.microsoft.com/office/drawing/2014/main" id="{F740C7ED-F733-1B61-DF9E-EE8830787003}"/>
              </a:ext>
            </a:extLst>
          </p:cNvPr>
          <p:cNvPicPr>
            <a:picLocks noChangeAspect="1"/>
          </p:cNvPicPr>
          <p:nvPr/>
        </p:nvPicPr>
        <p:blipFill>
          <a:blip r:embed="rId4"/>
          <a:stretch>
            <a:fillRect/>
          </a:stretch>
        </p:blipFill>
        <p:spPr>
          <a:xfrm>
            <a:off x="1112483" y="3929955"/>
            <a:ext cx="7535326" cy="885850"/>
          </a:xfrm>
          <a:prstGeom prst="rect">
            <a:avLst/>
          </a:prstGeom>
        </p:spPr>
      </p:pic>
      <p:sp>
        <p:nvSpPr>
          <p:cNvPr id="9" name="Tekstvak 8">
            <a:extLst>
              <a:ext uri="{FF2B5EF4-FFF2-40B4-BE49-F238E27FC236}">
                <a16:creationId xmlns:a16="http://schemas.microsoft.com/office/drawing/2014/main" id="{6FCC7BEE-A0C3-03EE-CF60-2EEDF06981E6}"/>
              </a:ext>
            </a:extLst>
          </p:cNvPr>
          <p:cNvSpPr txBox="1"/>
          <p:nvPr/>
        </p:nvSpPr>
        <p:spPr>
          <a:xfrm>
            <a:off x="8826354" y="2853508"/>
            <a:ext cx="2253161" cy="246221"/>
          </a:xfrm>
          <a:prstGeom prst="rect">
            <a:avLst/>
          </a:prstGeom>
          <a:noFill/>
        </p:spPr>
        <p:txBody>
          <a:bodyPr wrap="square" rtlCol="0">
            <a:spAutoFit/>
          </a:bodyPr>
          <a:lstStyle/>
          <a:p>
            <a:r>
              <a:rPr lang="nl-NL" sz="1000" dirty="0"/>
              <a:t>The wrong data</a:t>
            </a:r>
          </a:p>
        </p:txBody>
      </p:sp>
      <p:sp>
        <p:nvSpPr>
          <p:cNvPr id="10" name="Tekstvak 9">
            <a:extLst>
              <a:ext uri="{FF2B5EF4-FFF2-40B4-BE49-F238E27FC236}">
                <a16:creationId xmlns:a16="http://schemas.microsoft.com/office/drawing/2014/main" id="{A32E7D43-09F8-59AB-808A-616E0A44945A}"/>
              </a:ext>
            </a:extLst>
          </p:cNvPr>
          <p:cNvSpPr txBox="1"/>
          <p:nvPr/>
        </p:nvSpPr>
        <p:spPr>
          <a:xfrm>
            <a:off x="8826355" y="4242195"/>
            <a:ext cx="2253161" cy="246221"/>
          </a:xfrm>
          <a:prstGeom prst="rect">
            <a:avLst/>
          </a:prstGeom>
          <a:noFill/>
        </p:spPr>
        <p:txBody>
          <a:bodyPr wrap="square" rtlCol="0">
            <a:spAutoFit/>
          </a:bodyPr>
          <a:lstStyle/>
          <a:p>
            <a:r>
              <a:rPr lang="nl-NL" sz="1000" dirty="0"/>
              <a:t>The correct data</a:t>
            </a:r>
          </a:p>
        </p:txBody>
      </p:sp>
      <p:sp>
        <p:nvSpPr>
          <p:cNvPr id="12" name="Tekstvak 11">
            <a:extLst>
              <a:ext uri="{FF2B5EF4-FFF2-40B4-BE49-F238E27FC236}">
                <a16:creationId xmlns:a16="http://schemas.microsoft.com/office/drawing/2014/main" id="{2D9E843E-7061-D8B3-730B-EEF74193C2FA}"/>
              </a:ext>
            </a:extLst>
          </p:cNvPr>
          <p:cNvSpPr txBox="1"/>
          <p:nvPr/>
        </p:nvSpPr>
        <p:spPr>
          <a:xfrm>
            <a:off x="772888" y="1384631"/>
            <a:ext cx="10472284" cy="584775"/>
          </a:xfrm>
          <a:prstGeom prst="rect">
            <a:avLst/>
          </a:prstGeom>
          <a:noFill/>
          <a:ln>
            <a:noFill/>
          </a:ln>
        </p:spPr>
        <p:txBody>
          <a:bodyPr wrap="square">
            <a:spAutoFit/>
          </a:bodyPr>
          <a:lstStyle/>
          <a:p>
            <a:pPr marL="342900" indent="-342900" algn="l">
              <a:buAutoNum type="arabicPeriod"/>
            </a:pPr>
            <a:r>
              <a:rPr lang="en-US" sz="1600" dirty="0">
                <a:latin typeface="Söhne"/>
              </a:rPr>
              <a:t>In the example below, the data for angle is missing + warranty is 'invisible' (recorded as a note using #) so not present + </a:t>
            </a:r>
            <a:r>
              <a:rPr lang="en-US" sz="1600" dirty="0" err="1">
                <a:latin typeface="Söhne"/>
              </a:rPr>
              <a:t>servicelife</a:t>
            </a:r>
            <a:r>
              <a:rPr lang="en-US" sz="1600" dirty="0">
                <a:latin typeface="Söhne"/>
              </a:rPr>
              <a:t> is an integer but filled with a decimal. </a:t>
            </a:r>
          </a:p>
        </p:txBody>
      </p:sp>
      <p:sp>
        <p:nvSpPr>
          <p:cNvPr id="4" name="Tekstvak 3">
            <a:extLst>
              <a:ext uri="{FF2B5EF4-FFF2-40B4-BE49-F238E27FC236}">
                <a16:creationId xmlns:a16="http://schemas.microsoft.com/office/drawing/2014/main" id="{71FA9C9A-5CE8-9C39-A904-4BE1B98706A4}"/>
              </a:ext>
            </a:extLst>
          </p:cNvPr>
          <p:cNvSpPr txBox="1"/>
          <p:nvPr/>
        </p:nvSpPr>
        <p:spPr>
          <a:xfrm>
            <a:off x="772888" y="5104092"/>
            <a:ext cx="10472284" cy="338554"/>
          </a:xfrm>
          <a:prstGeom prst="rect">
            <a:avLst/>
          </a:prstGeom>
          <a:noFill/>
          <a:ln>
            <a:noFill/>
          </a:ln>
        </p:spPr>
        <p:txBody>
          <a:bodyPr wrap="square">
            <a:spAutoFit/>
          </a:bodyPr>
          <a:lstStyle/>
          <a:p>
            <a:pPr algn="l"/>
            <a:r>
              <a:rPr lang="en-US" sz="1600" dirty="0">
                <a:latin typeface="Söhne"/>
              </a:rPr>
              <a:t>These errors can then be adjusted in the source (for example, the BIM model if the information was not added in it). </a:t>
            </a:r>
          </a:p>
        </p:txBody>
      </p:sp>
    </p:spTree>
    <p:extLst>
      <p:ext uri="{BB962C8B-B14F-4D97-AF65-F5344CB8AC3E}">
        <p14:creationId xmlns:p14="http://schemas.microsoft.com/office/powerpoint/2010/main" val="17897950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5B51F4-E25B-CF13-D736-34DAB1251F1B}"/>
              </a:ext>
            </a:extLst>
          </p:cNvPr>
          <p:cNvSpPr>
            <a:spLocks noGrp="1"/>
          </p:cNvSpPr>
          <p:nvPr>
            <p:ph type="title"/>
          </p:nvPr>
        </p:nvSpPr>
        <p:spPr/>
        <p:txBody>
          <a:bodyPr/>
          <a:lstStyle/>
          <a:p>
            <a:r>
              <a:rPr lang="nl-NL" dirty="0"/>
              <a:t>Voorbeelden foutmeldingen</a:t>
            </a:r>
          </a:p>
        </p:txBody>
      </p:sp>
      <p:sp>
        <p:nvSpPr>
          <p:cNvPr id="3" name="Tijdelijke aanduiding voor tekst 2">
            <a:extLst>
              <a:ext uri="{FF2B5EF4-FFF2-40B4-BE49-F238E27FC236}">
                <a16:creationId xmlns:a16="http://schemas.microsoft.com/office/drawing/2014/main" id="{85D56D13-19BA-8733-E163-76945536D05D}"/>
              </a:ext>
            </a:extLst>
          </p:cNvPr>
          <p:cNvSpPr>
            <a:spLocks noGrp="1"/>
          </p:cNvSpPr>
          <p:nvPr>
            <p:ph type="body" sz="quarter" idx="10"/>
          </p:nvPr>
        </p:nvSpPr>
        <p:spPr/>
        <p:txBody>
          <a:bodyPr/>
          <a:lstStyle/>
          <a:p>
            <a:r>
              <a:rPr lang="en-US" dirty="0"/>
              <a:t>Above all, try out the tool yourself with the </a:t>
            </a:r>
            <a:r>
              <a:rPr lang="en-US" dirty="0" err="1"/>
              <a:t>testfileX</a:t>
            </a:r>
            <a:r>
              <a:rPr lang="en-US" dirty="0"/>
              <a:t>. Make some mistakes in this, such as changing data type, making information invisible (putting # in front of it), etc.</a:t>
            </a:r>
          </a:p>
          <a:p>
            <a:r>
              <a:rPr lang="en-US" dirty="0"/>
              <a:t>The parts checked by the validation tool are identified by the # behind the rules. When you make adjustments within these parts, you will see this reflected in the validation report (building, and element level).</a:t>
            </a:r>
          </a:p>
          <a:p>
            <a:r>
              <a:rPr lang="en-US" dirty="0"/>
              <a:t>To extend the test file, the product and materials file can be linked. Just add the names of the files in the python code. This way you can also try out with this. The files are called: DPP </a:t>
            </a:r>
            <a:r>
              <a:rPr lang="en-US" dirty="0" err="1"/>
              <a:t>productlevel</a:t>
            </a:r>
            <a:r>
              <a:rPr lang="en-US" dirty="0"/>
              <a:t> Rowhouse and DPP </a:t>
            </a:r>
            <a:r>
              <a:rPr lang="en-US" dirty="0" err="1"/>
              <a:t>materiallevel</a:t>
            </a:r>
            <a:r>
              <a:rPr lang="en-US" dirty="0"/>
              <a:t> Rowhouse.</a:t>
            </a:r>
          </a:p>
        </p:txBody>
      </p:sp>
      <p:sp>
        <p:nvSpPr>
          <p:cNvPr id="4" name="Tijdelijke aanduiding voor inhoud 3">
            <a:extLst>
              <a:ext uri="{FF2B5EF4-FFF2-40B4-BE49-F238E27FC236}">
                <a16:creationId xmlns:a16="http://schemas.microsoft.com/office/drawing/2014/main" id="{B1B964A8-0241-8593-CA71-6F221E2857D5}"/>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ABEB3DD9-50DF-E139-1E10-2DDD948BDEE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Tree>
    <p:extLst>
      <p:ext uri="{BB962C8B-B14F-4D97-AF65-F5344CB8AC3E}">
        <p14:creationId xmlns:p14="http://schemas.microsoft.com/office/powerpoint/2010/main" val="2572287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8D5681-C545-CEED-C71A-0ED0B95232D2}"/>
              </a:ext>
            </a:extLst>
          </p:cNvPr>
          <p:cNvSpPr>
            <a:spLocks noGrp="1"/>
          </p:cNvSpPr>
          <p:nvPr>
            <p:ph type="title"/>
          </p:nvPr>
        </p:nvSpPr>
        <p:spPr/>
        <p:txBody>
          <a:bodyPr/>
          <a:lstStyle/>
          <a:p>
            <a:r>
              <a:rPr lang="nl-NL" dirty="0"/>
              <a:t>Let op! </a:t>
            </a:r>
          </a:p>
        </p:txBody>
      </p:sp>
      <p:sp>
        <p:nvSpPr>
          <p:cNvPr id="3" name="Tijdelijke aanduiding voor tekst 2">
            <a:extLst>
              <a:ext uri="{FF2B5EF4-FFF2-40B4-BE49-F238E27FC236}">
                <a16:creationId xmlns:a16="http://schemas.microsoft.com/office/drawing/2014/main" id="{48031A04-7CFD-6462-836A-49F9BC1DE150}"/>
              </a:ext>
            </a:extLst>
          </p:cNvPr>
          <p:cNvSpPr>
            <a:spLocks noGrp="1"/>
          </p:cNvSpPr>
          <p:nvPr>
            <p:ph type="body" sz="quarter" idx="10"/>
          </p:nvPr>
        </p:nvSpPr>
        <p:spPr/>
        <p:txBody>
          <a:bodyPr/>
          <a:lstStyle/>
          <a:p>
            <a:r>
              <a:rPr lang="en-US" dirty="0"/>
              <a:t>The following slides will explain query creation. This is separate from the validation process.</a:t>
            </a:r>
          </a:p>
          <a:p>
            <a:r>
              <a:rPr lang="en-US" dirty="0"/>
              <a:t>This principle can be used when you receive datafiles and want to see certain information. </a:t>
            </a:r>
          </a:p>
          <a:p>
            <a:r>
              <a:rPr lang="en-US" dirty="0"/>
              <a:t>For example: you want to know how long the lifespan is of your walls. Then this information can be "queried" (provided this information is available/added in the data file).</a:t>
            </a:r>
          </a:p>
        </p:txBody>
      </p:sp>
      <p:sp>
        <p:nvSpPr>
          <p:cNvPr id="4" name="Tijdelijke aanduiding voor inhoud 3">
            <a:extLst>
              <a:ext uri="{FF2B5EF4-FFF2-40B4-BE49-F238E27FC236}">
                <a16:creationId xmlns:a16="http://schemas.microsoft.com/office/drawing/2014/main" id="{4C08D1BB-FE5B-F575-5E12-A2A6D29A6FC4}"/>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57A15044-9EAA-BB8D-90F6-5F29976D226D}"/>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spTree>
    <p:extLst>
      <p:ext uri="{BB962C8B-B14F-4D97-AF65-F5344CB8AC3E}">
        <p14:creationId xmlns:p14="http://schemas.microsoft.com/office/powerpoint/2010/main" val="25053077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5E32CE-4B32-D1B7-BF76-C56B374D4AFA}"/>
              </a:ext>
            </a:extLst>
          </p:cNvPr>
          <p:cNvSpPr>
            <a:spLocks noGrp="1"/>
          </p:cNvSpPr>
          <p:nvPr>
            <p:ph type="title"/>
          </p:nvPr>
        </p:nvSpPr>
        <p:spPr/>
        <p:txBody>
          <a:bodyPr/>
          <a:lstStyle/>
          <a:p>
            <a:r>
              <a:rPr lang="nl-NL" dirty="0"/>
              <a:t>Download </a:t>
            </a:r>
            <a:r>
              <a:rPr lang="nl-NL" dirty="0" err="1"/>
              <a:t>GraphDB</a:t>
            </a:r>
            <a:endParaRPr lang="nl-NL" dirty="0"/>
          </a:p>
        </p:txBody>
      </p:sp>
      <p:sp>
        <p:nvSpPr>
          <p:cNvPr id="3" name="Tijdelijke aanduiding voor tekst 2">
            <a:extLst>
              <a:ext uri="{FF2B5EF4-FFF2-40B4-BE49-F238E27FC236}">
                <a16:creationId xmlns:a16="http://schemas.microsoft.com/office/drawing/2014/main" id="{B3760A30-47C6-BEE2-F689-6C6287D11AE1}"/>
              </a:ext>
            </a:extLst>
          </p:cNvPr>
          <p:cNvSpPr>
            <a:spLocks noGrp="1"/>
          </p:cNvSpPr>
          <p:nvPr>
            <p:ph type="body" sz="quarter" idx="10"/>
          </p:nvPr>
        </p:nvSpPr>
        <p:spPr/>
        <p:txBody>
          <a:bodyPr/>
          <a:lstStyle/>
          <a:p>
            <a:r>
              <a:rPr lang="nl-NL" dirty="0"/>
              <a:t>Download </a:t>
            </a:r>
            <a:r>
              <a:rPr lang="nl-NL" dirty="0" err="1"/>
              <a:t>GraphDB</a:t>
            </a:r>
            <a:endParaRPr lang="nl-NL" dirty="0"/>
          </a:p>
          <a:p>
            <a:endParaRPr lang="nl-NL" dirty="0"/>
          </a:p>
          <a:p>
            <a:endParaRPr lang="nl-NL" dirty="0"/>
          </a:p>
          <a:p>
            <a:endParaRPr lang="nl-NL" dirty="0"/>
          </a:p>
          <a:p>
            <a:endParaRPr lang="nl-NL" dirty="0"/>
          </a:p>
          <a:p>
            <a:r>
              <a:rPr lang="en-US" dirty="0"/>
              <a:t>There are tutorials available in </a:t>
            </a:r>
            <a:r>
              <a:rPr lang="en-US" dirty="0" err="1"/>
              <a:t>GraphDB</a:t>
            </a:r>
            <a:r>
              <a:rPr lang="en-US" dirty="0"/>
              <a:t> (including star wars tutorial).</a:t>
            </a:r>
          </a:p>
          <a:p>
            <a:r>
              <a:rPr lang="en-US" dirty="0"/>
              <a:t>Follow this tutorial. This one explains well the steps to be taken</a:t>
            </a:r>
          </a:p>
          <a:p>
            <a:r>
              <a:rPr lang="en-US" dirty="0"/>
              <a:t>After following the tutorial, you can load the </a:t>
            </a:r>
            <a:r>
              <a:rPr lang="en-US" dirty="0" err="1"/>
              <a:t>TestfileX</a:t>
            </a:r>
            <a:r>
              <a:rPr lang="en-US" dirty="0"/>
              <a:t> and the material and product file (as used above). </a:t>
            </a:r>
            <a:endParaRPr lang="nl-NL" dirty="0"/>
          </a:p>
        </p:txBody>
      </p:sp>
      <p:sp>
        <p:nvSpPr>
          <p:cNvPr id="4" name="Tijdelijke aanduiding voor inhoud 3">
            <a:extLst>
              <a:ext uri="{FF2B5EF4-FFF2-40B4-BE49-F238E27FC236}">
                <a16:creationId xmlns:a16="http://schemas.microsoft.com/office/drawing/2014/main" id="{3A6134FA-CB72-387E-BC93-D7FCACB1677C}"/>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B3A905DA-4A45-7F93-0DCA-73D95AE06924}"/>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pic>
        <p:nvPicPr>
          <p:cNvPr id="7" name="Afbeelding 6">
            <a:extLst>
              <a:ext uri="{FF2B5EF4-FFF2-40B4-BE49-F238E27FC236}">
                <a16:creationId xmlns:a16="http://schemas.microsoft.com/office/drawing/2014/main" id="{3E3952D8-F484-4958-9793-2B4DE9C43CD5}"/>
              </a:ext>
            </a:extLst>
          </p:cNvPr>
          <p:cNvPicPr>
            <a:picLocks noChangeAspect="1"/>
          </p:cNvPicPr>
          <p:nvPr/>
        </p:nvPicPr>
        <p:blipFill>
          <a:blip r:embed="rId2"/>
          <a:stretch>
            <a:fillRect/>
          </a:stretch>
        </p:blipFill>
        <p:spPr>
          <a:xfrm>
            <a:off x="1055160" y="1843788"/>
            <a:ext cx="4096322" cy="781159"/>
          </a:xfrm>
          <a:prstGeom prst="rect">
            <a:avLst/>
          </a:prstGeom>
        </p:spPr>
      </p:pic>
    </p:spTree>
    <p:extLst>
      <p:ext uri="{BB962C8B-B14F-4D97-AF65-F5344CB8AC3E}">
        <p14:creationId xmlns:p14="http://schemas.microsoft.com/office/powerpoint/2010/main" val="24844471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27645E-6B77-4495-83BE-F020D9237014}"/>
              </a:ext>
            </a:extLst>
          </p:cNvPr>
          <p:cNvSpPr>
            <a:spLocks noGrp="1"/>
          </p:cNvSpPr>
          <p:nvPr>
            <p:ph type="title"/>
          </p:nvPr>
        </p:nvSpPr>
        <p:spPr/>
        <p:txBody>
          <a:bodyPr/>
          <a:lstStyle/>
          <a:p>
            <a:r>
              <a:rPr lang="nl-NL" dirty="0"/>
              <a:t>Het maken van </a:t>
            </a:r>
            <a:r>
              <a:rPr lang="nl-NL" dirty="0" err="1"/>
              <a:t>queries</a:t>
            </a:r>
            <a:endParaRPr lang="nl-NL" dirty="0"/>
          </a:p>
        </p:txBody>
      </p:sp>
      <p:sp>
        <p:nvSpPr>
          <p:cNvPr id="3" name="Tijdelijke aanduiding voor tekst 2">
            <a:extLst>
              <a:ext uri="{FF2B5EF4-FFF2-40B4-BE49-F238E27FC236}">
                <a16:creationId xmlns:a16="http://schemas.microsoft.com/office/drawing/2014/main" id="{8EA9C816-D3FC-5907-ED24-7D59FC2C3AE3}"/>
              </a:ext>
            </a:extLst>
          </p:cNvPr>
          <p:cNvSpPr>
            <a:spLocks noGrp="1"/>
          </p:cNvSpPr>
          <p:nvPr>
            <p:ph type="body" sz="quarter" idx="10"/>
          </p:nvPr>
        </p:nvSpPr>
        <p:spPr/>
        <p:txBody>
          <a:bodyPr/>
          <a:lstStyle/>
          <a:p>
            <a:r>
              <a:rPr lang="en-US" dirty="0"/>
              <a:t>Add the required prefixes in advance at the top of the screen where you will make the queries (this of all the ontologies you need. You can copy these from your </a:t>
            </a:r>
            <a:r>
              <a:rPr lang="en-US" dirty="0" err="1"/>
              <a:t>testfileX</a:t>
            </a:r>
            <a:r>
              <a:rPr lang="en-US" dirty="0"/>
              <a:t>, among other things).</a:t>
            </a:r>
          </a:p>
          <a:p>
            <a:r>
              <a:rPr lang="en-US" dirty="0"/>
              <a:t>In the thesis available in the </a:t>
            </a:r>
            <a:r>
              <a:rPr lang="en-US" dirty="0" err="1"/>
              <a:t>github</a:t>
            </a:r>
            <a:r>
              <a:rPr lang="en-US" dirty="0"/>
              <a:t> environment, there are several queries named that you can recreate. These can be found in the document's appendix.</a:t>
            </a:r>
          </a:p>
          <a:p>
            <a:r>
              <a:rPr lang="en-US" dirty="0"/>
              <a:t>Should you want to make other queries, feel free to ask </a:t>
            </a:r>
            <a:r>
              <a:rPr lang="en-US" dirty="0" err="1"/>
              <a:t>chatgpt</a:t>
            </a:r>
            <a:r>
              <a:rPr lang="en-US" dirty="0"/>
              <a:t> for help. He can help</a:t>
            </a:r>
          </a:p>
          <a:p>
            <a:r>
              <a:rPr lang="en-US" dirty="0"/>
              <a:t>To the right, see an example of a query run</a:t>
            </a:r>
          </a:p>
          <a:p>
            <a:r>
              <a:rPr lang="en-US" dirty="0"/>
              <a:t>Should anything go wrong. Ask </a:t>
            </a:r>
            <a:r>
              <a:rPr lang="en-US" dirty="0" err="1"/>
              <a:t>chatgpt</a:t>
            </a:r>
            <a:r>
              <a:rPr lang="en-US" dirty="0"/>
              <a:t> for help. He can suggest many solutions</a:t>
            </a:r>
          </a:p>
        </p:txBody>
      </p:sp>
      <p:pic>
        <p:nvPicPr>
          <p:cNvPr id="5" name="Afbeelding 4">
            <a:extLst>
              <a:ext uri="{FF2B5EF4-FFF2-40B4-BE49-F238E27FC236}">
                <a16:creationId xmlns:a16="http://schemas.microsoft.com/office/drawing/2014/main" id="{3521F349-6141-AB2B-56F4-CF1FE4B811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1010" y="836452"/>
            <a:ext cx="4445000" cy="3977005"/>
          </a:xfrm>
          <a:prstGeom prst="rect">
            <a:avLst/>
          </a:prstGeom>
        </p:spPr>
      </p:pic>
      <p:cxnSp>
        <p:nvCxnSpPr>
          <p:cNvPr id="6" name="Rechte verbindingslijn met pijl 5">
            <a:extLst>
              <a:ext uri="{FF2B5EF4-FFF2-40B4-BE49-F238E27FC236}">
                <a16:creationId xmlns:a16="http://schemas.microsoft.com/office/drawing/2014/main" id="{185384D8-4E21-A32F-9ADC-4A4E70AC9E3E}"/>
              </a:ext>
            </a:extLst>
          </p:cNvPr>
          <p:cNvCxnSpPr>
            <a:cxnSpLocks/>
          </p:cNvCxnSpPr>
          <p:nvPr/>
        </p:nvCxnSpPr>
        <p:spPr>
          <a:xfrm flipV="1">
            <a:off x="8913914" y="691200"/>
            <a:ext cx="862384" cy="3212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Rechte verbindingslijn met pijl 7">
            <a:extLst>
              <a:ext uri="{FF2B5EF4-FFF2-40B4-BE49-F238E27FC236}">
                <a16:creationId xmlns:a16="http://schemas.microsoft.com/office/drawing/2014/main" id="{ABD41ED7-28D6-1A56-D62B-830DA4091CED}"/>
              </a:ext>
            </a:extLst>
          </p:cNvPr>
          <p:cNvCxnSpPr>
            <a:cxnSpLocks/>
          </p:cNvCxnSpPr>
          <p:nvPr/>
        </p:nvCxnSpPr>
        <p:spPr>
          <a:xfrm>
            <a:off x="9533626" y="1263678"/>
            <a:ext cx="1185706" cy="8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Rechte verbindingslijn met pijl 9">
            <a:extLst>
              <a:ext uri="{FF2B5EF4-FFF2-40B4-BE49-F238E27FC236}">
                <a16:creationId xmlns:a16="http://schemas.microsoft.com/office/drawing/2014/main" id="{D9D63F1D-585A-1ED5-C63F-0BFE4A6F2950}"/>
              </a:ext>
            </a:extLst>
          </p:cNvPr>
          <p:cNvCxnSpPr>
            <a:cxnSpLocks/>
          </p:cNvCxnSpPr>
          <p:nvPr/>
        </p:nvCxnSpPr>
        <p:spPr>
          <a:xfrm flipV="1">
            <a:off x="8913914" y="1720214"/>
            <a:ext cx="1805418" cy="36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Rechte verbindingslijn met pijl 11">
            <a:extLst>
              <a:ext uri="{FF2B5EF4-FFF2-40B4-BE49-F238E27FC236}">
                <a16:creationId xmlns:a16="http://schemas.microsoft.com/office/drawing/2014/main" id="{D48E7835-81D0-12DE-C208-8907E6200BBF}"/>
              </a:ext>
            </a:extLst>
          </p:cNvPr>
          <p:cNvCxnSpPr>
            <a:cxnSpLocks/>
          </p:cNvCxnSpPr>
          <p:nvPr/>
        </p:nvCxnSpPr>
        <p:spPr>
          <a:xfrm flipV="1">
            <a:off x="8011205" y="2151054"/>
            <a:ext cx="2708127" cy="239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Rechte verbindingslijn met pijl 13">
            <a:extLst>
              <a:ext uri="{FF2B5EF4-FFF2-40B4-BE49-F238E27FC236}">
                <a16:creationId xmlns:a16="http://schemas.microsoft.com/office/drawing/2014/main" id="{83B0A38A-485D-9072-2F6A-EFD2CAD94D3A}"/>
              </a:ext>
            </a:extLst>
          </p:cNvPr>
          <p:cNvCxnSpPr>
            <a:cxnSpLocks/>
          </p:cNvCxnSpPr>
          <p:nvPr/>
        </p:nvCxnSpPr>
        <p:spPr>
          <a:xfrm>
            <a:off x="10396010" y="3587505"/>
            <a:ext cx="10845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kstvak 15">
            <a:extLst>
              <a:ext uri="{FF2B5EF4-FFF2-40B4-BE49-F238E27FC236}">
                <a16:creationId xmlns:a16="http://schemas.microsoft.com/office/drawing/2014/main" id="{143D4C67-2049-CC3C-0FEA-B89F75408752}"/>
              </a:ext>
            </a:extLst>
          </p:cNvPr>
          <p:cNvSpPr txBox="1"/>
          <p:nvPr/>
        </p:nvSpPr>
        <p:spPr>
          <a:xfrm>
            <a:off x="9838194" y="537181"/>
            <a:ext cx="1569656" cy="246221"/>
          </a:xfrm>
          <a:prstGeom prst="rect">
            <a:avLst/>
          </a:prstGeom>
          <a:noFill/>
        </p:spPr>
        <p:txBody>
          <a:bodyPr wrap="square" rtlCol="0">
            <a:spAutoFit/>
          </a:bodyPr>
          <a:lstStyle/>
          <a:p>
            <a:r>
              <a:rPr lang="nl-NL" sz="1000" dirty="0"/>
              <a:t>The </a:t>
            </a:r>
            <a:r>
              <a:rPr lang="nl-NL" sz="1000" dirty="0" err="1"/>
              <a:t>prefixes</a:t>
            </a:r>
            <a:endParaRPr lang="nl-NL" sz="1000" dirty="0"/>
          </a:p>
        </p:txBody>
      </p:sp>
      <p:sp>
        <p:nvSpPr>
          <p:cNvPr id="17" name="Tekstvak 16">
            <a:extLst>
              <a:ext uri="{FF2B5EF4-FFF2-40B4-BE49-F238E27FC236}">
                <a16:creationId xmlns:a16="http://schemas.microsoft.com/office/drawing/2014/main" id="{BCAC4939-A9AF-B875-9082-96BD50927A06}"/>
              </a:ext>
            </a:extLst>
          </p:cNvPr>
          <p:cNvSpPr txBox="1"/>
          <p:nvPr/>
        </p:nvSpPr>
        <p:spPr>
          <a:xfrm>
            <a:off x="10721598" y="990585"/>
            <a:ext cx="1569656" cy="553998"/>
          </a:xfrm>
          <a:prstGeom prst="rect">
            <a:avLst/>
          </a:prstGeom>
          <a:noFill/>
        </p:spPr>
        <p:txBody>
          <a:bodyPr wrap="square" rtlCol="0">
            <a:spAutoFit/>
          </a:bodyPr>
          <a:lstStyle/>
          <a:p>
            <a:r>
              <a:rPr lang="en-US" sz="1000" dirty="0"/>
              <a:t>The names that appear at the top of </a:t>
            </a:r>
          </a:p>
          <a:p>
            <a:r>
              <a:rPr lang="en-US" sz="1000" dirty="0"/>
              <a:t>The table</a:t>
            </a:r>
          </a:p>
        </p:txBody>
      </p:sp>
      <p:sp>
        <p:nvSpPr>
          <p:cNvPr id="18" name="Tekstvak 17">
            <a:extLst>
              <a:ext uri="{FF2B5EF4-FFF2-40B4-BE49-F238E27FC236}">
                <a16:creationId xmlns:a16="http://schemas.microsoft.com/office/drawing/2014/main" id="{FAE9FBFF-30C8-25C0-94BD-1BB9A9B16431}"/>
              </a:ext>
            </a:extLst>
          </p:cNvPr>
          <p:cNvSpPr txBox="1"/>
          <p:nvPr/>
        </p:nvSpPr>
        <p:spPr>
          <a:xfrm>
            <a:off x="10695714" y="1557875"/>
            <a:ext cx="1569656" cy="246221"/>
          </a:xfrm>
          <a:prstGeom prst="rect">
            <a:avLst/>
          </a:prstGeom>
          <a:noFill/>
        </p:spPr>
        <p:txBody>
          <a:bodyPr wrap="square" rtlCol="0">
            <a:spAutoFit/>
          </a:bodyPr>
          <a:lstStyle/>
          <a:p>
            <a:r>
              <a:rPr lang="nl-NL" sz="1000" dirty="0"/>
              <a:t>The query</a:t>
            </a:r>
          </a:p>
        </p:txBody>
      </p:sp>
      <p:sp>
        <p:nvSpPr>
          <p:cNvPr id="19" name="Tekstvak 18">
            <a:extLst>
              <a:ext uri="{FF2B5EF4-FFF2-40B4-BE49-F238E27FC236}">
                <a16:creationId xmlns:a16="http://schemas.microsoft.com/office/drawing/2014/main" id="{FFFA4A67-E670-CD87-74A4-C9A907CC0B23}"/>
              </a:ext>
            </a:extLst>
          </p:cNvPr>
          <p:cNvSpPr txBox="1"/>
          <p:nvPr/>
        </p:nvSpPr>
        <p:spPr>
          <a:xfrm>
            <a:off x="10719332" y="2029268"/>
            <a:ext cx="1569656" cy="400110"/>
          </a:xfrm>
          <a:prstGeom prst="rect">
            <a:avLst/>
          </a:prstGeom>
          <a:noFill/>
        </p:spPr>
        <p:txBody>
          <a:bodyPr wrap="square" rtlCol="0">
            <a:spAutoFit/>
          </a:bodyPr>
          <a:lstStyle/>
          <a:p>
            <a:r>
              <a:rPr lang="en-US" sz="1000" dirty="0"/>
              <a:t>A filter to generate the</a:t>
            </a:r>
          </a:p>
          <a:p>
            <a:r>
              <a:rPr lang="en-US" sz="1000" dirty="0"/>
              <a:t>Materials with cement</a:t>
            </a:r>
          </a:p>
        </p:txBody>
      </p:sp>
      <p:sp>
        <p:nvSpPr>
          <p:cNvPr id="20" name="Tekstvak 19">
            <a:extLst>
              <a:ext uri="{FF2B5EF4-FFF2-40B4-BE49-F238E27FC236}">
                <a16:creationId xmlns:a16="http://schemas.microsoft.com/office/drawing/2014/main" id="{FE6A46C4-2036-80FC-9AAA-D091789BEFB8}"/>
              </a:ext>
            </a:extLst>
          </p:cNvPr>
          <p:cNvSpPr txBox="1"/>
          <p:nvPr/>
        </p:nvSpPr>
        <p:spPr>
          <a:xfrm>
            <a:off x="10396010" y="3305889"/>
            <a:ext cx="1569656" cy="246221"/>
          </a:xfrm>
          <a:prstGeom prst="rect">
            <a:avLst/>
          </a:prstGeom>
          <a:noFill/>
        </p:spPr>
        <p:txBody>
          <a:bodyPr wrap="square" rtlCol="0">
            <a:spAutoFit/>
          </a:bodyPr>
          <a:lstStyle/>
          <a:p>
            <a:r>
              <a:rPr lang="nl-NL" sz="1000" dirty="0"/>
              <a:t>The </a:t>
            </a:r>
            <a:r>
              <a:rPr lang="nl-NL" sz="1000" dirty="0" err="1"/>
              <a:t>resulting</a:t>
            </a:r>
            <a:r>
              <a:rPr lang="nl-NL" sz="1000" dirty="0"/>
              <a:t> </a:t>
            </a:r>
            <a:r>
              <a:rPr lang="nl-NL" sz="1000" dirty="0" err="1"/>
              <a:t>table</a:t>
            </a:r>
            <a:endParaRPr lang="nl-NL" sz="1000" dirty="0"/>
          </a:p>
        </p:txBody>
      </p:sp>
      <p:sp>
        <p:nvSpPr>
          <p:cNvPr id="21" name="Ovaal 20">
            <a:extLst>
              <a:ext uri="{FF2B5EF4-FFF2-40B4-BE49-F238E27FC236}">
                <a16:creationId xmlns:a16="http://schemas.microsoft.com/office/drawing/2014/main" id="{D28AE8AD-3755-722F-F534-DF81C8527A0D}"/>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spTree>
    <p:extLst>
      <p:ext uri="{BB962C8B-B14F-4D97-AF65-F5344CB8AC3E}">
        <p14:creationId xmlns:p14="http://schemas.microsoft.com/office/powerpoint/2010/main" val="8050925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e </a:t>
            </a:r>
            <a:r>
              <a:rPr lang="nl-NL" dirty="0" err="1"/>
              <a:t>underlying</a:t>
            </a:r>
            <a:r>
              <a:rPr lang="nl-NL" dirty="0"/>
              <a:t> steps</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945038" y="2056698"/>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491655" y="2355525"/>
            <a:ext cx="1649737" cy="1513469"/>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on re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the</a:t>
            </a:r>
            <a:r>
              <a:rPr lang="nl-NL" dirty="0"/>
              <a:t> model of </a:t>
            </a:r>
            <a:r>
              <a:rPr lang="nl-NL" dirty="0" err="1"/>
              <a:t>the</a:t>
            </a:r>
            <a:r>
              <a:rPr lang="nl-NL" dirty="0"/>
              <a:t> building/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trieve</a:t>
            </a:r>
            <a:r>
              <a:rPr lang="nl-NL" dirty="0"/>
              <a:t> data </a:t>
            </a:r>
          </a:p>
          <a:p>
            <a:pPr algn="ctr"/>
            <a:endParaRPr lang="nl-NL" dirty="0"/>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639361" y="1787681"/>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Validate</a:t>
            </a:r>
            <a:endParaRPr lang="nl-NL" dirty="0"/>
          </a:p>
          <a:p>
            <a:pPr algn="ctr"/>
            <a:r>
              <a:rPr lang="nl-NL" dirty="0"/>
              <a:t>The data </a:t>
            </a:r>
          </a:p>
          <a:p>
            <a:pPr algn="ctr"/>
            <a:endParaRPr lang="nl-NL" dirty="0"/>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Data </a:t>
            </a:r>
            <a:r>
              <a:rPr lang="nl-NL" dirty="0" err="1"/>
              <a:t>verification</a:t>
            </a:r>
            <a:r>
              <a:rPr lang="nl-NL" dirty="0"/>
              <a:t> (SHACL) of </a:t>
            </a:r>
            <a:r>
              <a:rPr lang="nl-NL" dirty="0" err="1"/>
              <a:t>the</a:t>
            </a:r>
            <a:r>
              <a:rPr lang="nl-NL" dirty="0"/>
              <a:t>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eport </a:t>
            </a:r>
            <a:r>
              <a:rPr lang="nl-NL" dirty="0" err="1"/>
              <a:t>with</a:t>
            </a:r>
            <a:r>
              <a:rPr lang="nl-NL" dirty="0"/>
              <a:t> missing/</a:t>
            </a:r>
            <a:r>
              <a:rPr lang="nl-NL" dirty="0" err="1"/>
              <a:t>wrongly</a:t>
            </a:r>
            <a:r>
              <a:rPr lang="nl-NL" dirty="0"/>
              <a:t> </a:t>
            </a:r>
            <a:r>
              <a:rPr lang="nl-NL" dirty="0" err="1"/>
              <a:t>completed</a:t>
            </a:r>
            <a:r>
              <a:rPr lang="nl-NL" dirty="0"/>
              <a:t> </a:t>
            </a:r>
            <a:r>
              <a:rPr lang="nl-NL" dirty="0" err="1"/>
              <a:t>parts</a:t>
            </a:r>
            <a:endParaRPr lang="nl-NL" dirty="0"/>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BA7C8A4B-0C58-FC4E-3F71-0B174C3C0F27}"/>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Ontology</a:t>
            </a:r>
            <a:endParaRPr lang="nl-NL" dirty="0"/>
          </a:p>
        </p:txBody>
      </p:sp>
      <p:sp>
        <p:nvSpPr>
          <p:cNvPr id="21" name="Rechthoek 20">
            <a:extLst>
              <a:ext uri="{FF2B5EF4-FFF2-40B4-BE49-F238E27FC236}">
                <a16:creationId xmlns:a16="http://schemas.microsoft.com/office/drawing/2014/main" id="{E75BAC1C-CDA9-5FEF-0145-8F393B968ED7}"/>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a:t>
            </a:r>
            <a:r>
              <a:rPr lang="nl-NL" dirty="0" err="1"/>
              <a:t>lay</a:t>
            </a:r>
            <a:r>
              <a:rPr lang="nl-NL" dirty="0"/>
              <a:t> out’</a:t>
            </a:r>
          </a:p>
        </p:txBody>
      </p:sp>
      <p:sp>
        <p:nvSpPr>
          <p:cNvPr id="11" name="Ovaal 10">
            <a:extLst>
              <a:ext uri="{FF2B5EF4-FFF2-40B4-BE49-F238E27FC236}">
                <a16:creationId xmlns:a16="http://schemas.microsoft.com/office/drawing/2014/main" id="{387E18F3-4699-86DB-61EF-8C1330AC28CA}"/>
              </a:ext>
            </a:extLst>
          </p:cNvPr>
          <p:cNvSpPr/>
          <p:nvPr/>
        </p:nvSpPr>
        <p:spPr>
          <a:xfrm>
            <a:off x="3930655" y="1549508"/>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sp>
        <p:nvSpPr>
          <p:cNvPr id="22" name="Ovaal 21">
            <a:extLst>
              <a:ext uri="{FF2B5EF4-FFF2-40B4-BE49-F238E27FC236}">
                <a16:creationId xmlns:a16="http://schemas.microsoft.com/office/drawing/2014/main" id="{9A939B48-148C-6952-5D51-9B37AFEC3873}"/>
              </a:ext>
            </a:extLst>
          </p:cNvPr>
          <p:cNvSpPr/>
          <p:nvPr/>
        </p:nvSpPr>
        <p:spPr>
          <a:xfrm>
            <a:off x="6392990" y="3472349"/>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23" name="Ovaal 22">
            <a:extLst>
              <a:ext uri="{FF2B5EF4-FFF2-40B4-BE49-F238E27FC236}">
                <a16:creationId xmlns:a16="http://schemas.microsoft.com/office/drawing/2014/main" id="{D5911FD1-2073-67EF-4EF2-D443E57D5732}"/>
              </a:ext>
            </a:extLst>
          </p:cNvPr>
          <p:cNvSpPr/>
          <p:nvPr/>
        </p:nvSpPr>
        <p:spPr>
          <a:xfrm>
            <a:off x="7829870" y="2636186"/>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24" name="Ovaal 23">
            <a:extLst>
              <a:ext uri="{FF2B5EF4-FFF2-40B4-BE49-F238E27FC236}">
                <a16:creationId xmlns:a16="http://schemas.microsoft.com/office/drawing/2014/main" id="{91199834-504A-ED2F-6F61-60BDA6CB7313}"/>
              </a:ext>
            </a:extLst>
          </p:cNvPr>
          <p:cNvSpPr/>
          <p:nvPr/>
        </p:nvSpPr>
        <p:spPr>
          <a:xfrm>
            <a:off x="10190593" y="187587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25" name="Ovaal 24">
            <a:extLst>
              <a:ext uri="{FF2B5EF4-FFF2-40B4-BE49-F238E27FC236}">
                <a16:creationId xmlns:a16="http://schemas.microsoft.com/office/drawing/2014/main" id="{94165B84-E86C-643E-176A-957AB9BE4229}"/>
              </a:ext>
            </a:extLst>
          </p:cNvPr>
          <p:cNvSpPr/>
          <p:nvPr/>
        </p:nvSpPr>
        <p:spPr>
          <a:xfrm>
            <a:off x="6206341" y="5075978"/>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spTree>
    <p:extLst>
      <p:ext uri="{BB962C8B-B14F-4D97-AF65-F5344CB8AC3E}">
        <p14:creationId xmlns:p14="http://schemas.microsoft.com/office/powerpoint/2010/main" val="991624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Excercise</a:t>
            </a:r>
            <a:endParaRPr lang="nl-NL" dirty="0"/>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303725"/>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323280"/>
            <a:ext cx="10472284" cy="2062103"/>
          </a:xfrm>
          <a:prstGeom prst="rect">
            <a:avLst/>
          </a:prstGeom>
          <a:noFill/>
        </p:spPr>
        <p:txBody>
          <a:bodyPr wrap="square">
            <a:spAutoFit/>
          </a:bodyPr>
          <a:lstStyle/>
          <a:p>
            <a:pPr algn="l"/>
            <a:r>
              <a:rPr lang="en-US" sz="1600" dirty="0">
                <a:latin typeface="Söhne"/>
              </a:rPr>
              <a:t>The following slides show the process of arriving at a validation report. Currently a converter is used that does not yet convert the DPP parts to RDF (From IFC to RDF) along with it. These are therefore manually supplemented in the example RDF discussed later in the PowerPoint. </a:t>
            </a:r>
            <a:r>
              <a:rPr lang="en-US" sz="1600" b="1" dirty="0">
                <a:latin typeface="Söhne"/>
              </a:rPr>
              <a:t>If you convert an IFC file yourself it does not yet contain the correct information to comply with the validation process and the DPP parts will come out as an error message. </a:t>
            </a:r>
          </a:p>
          <a:p>
            <a:pPr algn="l"/>
            <a:endParaRPr lang="nl-NL" sz="1600" dirty="0">
              <a:latin typeface="Söhne"/>
            </a:endParaRPr>
          </a:p>
          <a:p>
            <a:pPr algn="l"/>
            <a:r>
              <a:rPr lang="en-US" sz="1600" dirty="0">
                <a:latin typeface="Söhne"/>
              </a:rPr>
              <a:t>If you would like to see how the tool works: use the pre-selected TTL (RDF) file called </a:t>
            </a:r>
            <a:r>
              <a:rPr lang="en-US" sz="1600" dirty="0" err="1">
                <a:highlight>
                  <a:srgbClr val="FFFF00"/>
                </a:highlight>
                <a:latin typeface="Söhne"/>
              </a:rPr>
              <a:t>TestfileX</a:t>
            </a:r>
            <a:r>
              <a:rPr lang="en-US" sz="1600" dirty="0">
                <a:latin typeface="Söhne"/>
              </a:rPr>
              <a:t> available in </a:t>
            </a:r>
            <a:r>
              <a:rPr lang="en-US" sz="1600" dirty="0" err="1">
                <a:latin typeface="Söhne"/>
              </a:rPr>
              <a:t>Github</a:t>
            </a:r>
            <a:r>
              <a:rPr lang="en-US" sz="1600" dirty="0">
                <a:latin typeface="Söhne"/>
              </a:rPr>
              <a:t>. </a:t>
            </a:r>
          </a:p>
          <a:p>
            <a:pPr algn="l"/>
            <a:r>
              <a:rPr lang="en-US" sz="1600" dirty="0">
                <a:latin typeface="Söhne"/>
              </a:rPr>
              <a:t>This can be loaded to go through the validation steps and practice the process. If you want to do this you can skip slides 5 through 12 except for setting up python. </a:t>
            </a:r>
          </a:p>
        </p:txBody>
      </p:sp>
    </p:spTree>
    <p:extLst>
      <p:ext uri="{BB962C8B-B14F-4D97-AF65-F5344CB8AC3E}">
        <p14:creationId xmlns:p14="http://schemas.microsoft.com/office/powerpoint/2010/main" val="3612393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ownloads</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323280"/>
            <a:ext cx="10472284" cy="3046988"/>
          </a:xfrm>
          <a:prstGeom prst="rect">
            <a:avLst/>
          </a:prstGeom>
          <a:noFill/>
        </p:spPr>
        <p:txBody>
          <a:bodyPr wrap="square">
            <a:spAutoFit/>
          </a:bodyPr>
          <a:lstStyle/>
          <a:p>
            <a:pPr marL="342900" indent="-342900" algn="l">
              <a:buAutoNum type="arabicPeriod"/>
            </a:pPr>
            <a:r>
              <a:rPr lang="nl-NL" sz="1600" b="0" i="0" dirty="0">
                <a:effectLst/>
                <a:latin typeface="Söhne"/>
              </a:rPr>
              <a:t>Download Visual Studio Code (VSC)</a:t>
            </a:r>
          </a:p>
          <a:p>
            <a:pPr algn="l"/>
            <a:r>
              <a:rPr lang="nl-NL" sz="1600" dirty="0">
                <a:latin typeface="YouTube Noto"/>
                <a:hlinkClick r:id="rId3" tooltip="Link delen"/>
              </a:rPr>
              <a:t>        </a:t>
            </a:r>
            <a:r>
              <a:rPr lang="nl-NL" sz="1600" b="0" i="0" u="none" strike="noStrike" dirty="0">
                <a:effectLst/>
                <a:latin typeface="YouTube Noto"/>
                <a:hlinkClick r:id="rId3" tooltip="Link delen"/>
              </a:rPr>
              <a:t>https://youtu.be/9o4gDQvVkLU</a:t>
            </a:r>
            <a:endParaRPr lang="nl-NL" sz="1600" b="0" i="0" dirty="0">
              <a:effectLst/>
              <a:latin typeface="Söhne"/>
            </a:endParaRPr>
          </a:p>
          <a:p>
            <a:pPr marL="342900" indent="-342900" algn="l">
              <a:buAutoNum type="arabicPeriod"/>
            </a:pPr>
            <a:endParaRPr lang="nl-NL" sz="1600" dirty="0">
              <a:latin typeface="Söhne"/>
            </a:endParaRPr>
          </a:p>
          <a:p>
            <a:pPr algn="l"/>
            <a:r>
              <a:rPr lang="en-US" sz="1600" dirty="0">
                <a:latin typeface="Söhne"/>
              </a:rPr>
              <a:t>2.    Follow the steps from the link above and the website below if you are unfamiliar with Python: </a:t>
            </a:r>
          </a:p>
          <a:p>
            <a:pPr algn="l"/>
            <a:r>
              <a:rPr lang="nl-NL" sz="1600" dirty="0">
                <a:latin typeface="Söhne"/>
                <a:hlinkClick r:id="rId4"/>
              </a:rPr>
              <a:t>        https://code.visualstudio.com/docs/python/python-tutorial</a:t>
            </a:r>
            <a:r>
              <a:rPr lang="nl-NL" sz="1600" dirty="0">
                <a:latin typeface="Söhne"/>
              </a:rPr>
              <a:t> </a:t>
            </a: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3. </a:t>
            </a:r>
            <a:r>
              <a:rPr lang="en-US" sz="1600" b="0" i="0" dirty="0">
                <a:effectLst/>
                <a:latin typeface="Söhne"/>
              </a:rPr>
              <a:t>Download </a:t>
            </a:r>
            <a:r>
              <a:rPr lang="en-US" sz="1600" b="0" i="0" dirty="0" err="1">
                <a:effectLst/>
                <a:latin typeface="Söhne"/>
              </a:rPr>
              <a:t>IFCtoLBD</a:t>
            </a:r>
            <a:r>
              <a:rPr lang="en-US" sz="1600" b="0" i="0" dirty="0">
                <a:effectLst/>
                <a:latin typeface="Söhne"/>
              </a:rPr>
              <a:t> and Namespaces from </a:t>
            </a:r>
            <a:r>
              <a:rPr lang="en-US" sz="1600" b="0" i="0" dirty="0" err="1">
                <a:effectLst/>
                <a:latin typeface="Söhne"/>
              </a:rPr>
              <a:t>github</a:t>
            </a:r>
            <a:r>
              <a:rPr lang="en-US" sz="1600" b="0" i="0" dirty="0">
                <a:effectLst/>
                <a:latin typeface="Söhne"/>
              </a:rPr>
              <a:t>, save in your created environment (e.g. in a specific folder) and open in    </a:t>
            </a:r>
            <a:br>
              <a:rPr lang="en-US" sz="1600" b="0" i="0" dirty="0">
                <a:effectLst/>
                <a:latin typeface="Söhne"/>
              </a:rPr>
            </a:br>
            <a:r>
              <a:rPr lang="en-US" sz="1600" b="0" i="0" dirty="0">
                <a:effectLst/>
                <a:latin typeface="Söhne"/>
              </a:rPr>
              <a:t>     VSC (File -&gt; open file at top left)</a:t>
            </a:r>
          </a:p>
          <a:p>
            <a:pPr algn="l"/>
            <a:r>
              <a:rPr lang="nl-NL" sz="1600" b="0" i="0" dirty="0">
                <a:effectLst/>
                <a:latin typeface="Söhne"/>
                <a:hlinkClick r:id="rId5"/>
              </a:rPr>
              <a:t>        https://github.com/JannekeBosma/DPP</a:t>
            </a:r>
            <a:r>
              <a:rPr lang="nl-NL" sz="1600" b="0" i="0" dirty="0">
                <a:effectLst/>
                <a:latin typeface="Söhne"/>
              </a:rPr>
              <a:t> </a:t>
            </a:r>
          </a:p>
          <a:p>
            <a:pPr marL="342900" indent="-342900" algn="l">
              <a:buAutoNum type="arabicPeriod"/>
            </a:pPr>
            <a:endParaRPr lang="nl-NL" sz="1600" b="0" i="0" dirty="0">
              <a:effectLst/>
              <a:latin typeface="Söhne"/>
            </a:endParaRPr>
          </a:p>
          <a:p>
            <a:pPr algn="l"/>
            <a:r>
              <a:rPr lang="nl-NL" sz="1600" dirty="0">
                <a:latin typeface="Söhne"/>
              </a:rPr>
              <a:t>4. </a:t>
            </a:r>
            <a:r>
              <a:rPr lang="en-US" sz="1600" dirty="0">
                <a:latin typeface="Söhne"/>
              </a:rPr>
              <a:t>Download required packages displayed in </a:t>
            </a:r>
            <a:r>
              <a:rPr lang="en-US" sz="1600" dirty="0" err="1">
                <a:latin typeface="Söhne"/>
              </a:rPr>
              <a:t>IFCtoLBD</a:t>
            </a:r>
            <a:r>
              <a:rPr lang="en-US" sz="1600" dirty="0">
                <a:latin typeface="Söhne"/>
              </a:rPr>
              <a:t> file (see next slide)</a:t>
            </a:r>
          </a:p>
          <a:p>
            <a:pPr algn="l"/>
            <a:endParaRPr lang="nl-NL" sz="1600" b="0" i="0" dirty="0">
              <a:effectLst/>
              <a:latin typeface="Söhne"/>
            </a:endParaRP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7" name="Afbeelding 6">
            <a:extLst>
              <a:ext uri="{FF2B5EF4-FFF2-40B4-BE49-F238E27FC236}">
                <a16:creationId xmlns:a16="http://schemas.microsoft.com/office/drawing/2014/main" id="{D72BBCAA-B857-7FBD-06FF-B75D87414B3E}"/>
              </a:ext>
            </a:extLst>
          </p:cNvPr>
          <p:cNvPicPr>
            <a:picLocks noChangeAspect="1"/>
          </p:cNvPicPr>
          <p:nvPr/>
        </p:nvPicPr>
        <p:blipFill>
          <a:blip r:embed="rId6"/>
          <a:stretch>
            <a:fillRect/>
          </a:stretch>
        </p:blipFill>
        <p:spPr>
          <a:xfrm>
            <a:off x="653679" y="4626779"/>
            <a:ext cx="2170569" cy="539505"/>
          </a:xfrm>
          <a:prstGeom prst="rect">
            <a:avLst/>
          </a:prstGeom>
        </p:spPr>
      </p:pic>
      <p:pic>
        <p:nvPicPr>
          <p:cNvPr id="10" name="Afbeelding 9">
            <a:extLst>
              <a:ext uri="{FF2B5EF4-FFF2-40B4-BE49-F238E27FC236}">
                <a16:creationId xmlns:a16="http://schemas.microsoft.com/office/drawing/2014/main" id="{1348F7BB-BA51-CF3A-F363-7285EC19F8D1}"/>
              </a:ext>
            </a:extLst>
          </p:cNvPr>
          <p:cNvPicPr>
            <a:picLocks noChangeAspect="1"/>
          </p:cNvPicPr>
          <p:nvPr/>
        </p:nvPicPr>
        <p:blipFill>
          <a:blip r:embed="rId7"/>
          <a:stretch>
            <a:fillRect/>
          </a:stretch>
        </p:blipFill>
        <p:spPr>
          <a:xfrm>
            <a:off x="3708725" y="4153307"/>
            <a:ext cx="2571779" cy="1561857"/>
          </a:xfrm>
          <a:prstGeom prst="rect">
            <a:avLst/>
          </a:prstGeom>
        </p:spPr>
      </p:pic>
      <p:cxnSp>
        <p:nvCxnSpPr>
          <p:cNvPr id="12" name="Rechte verbindingslijn met pijl 11">
            <a:extLst>
              <a:ext uri="{FF2B5EF4-FFF2-40B4-BE49-F238E27FC236}">
                <a16:creationId xmlns:a16="http://schemas.microsoft.com/office/drawing/2014/main" id="{41476F61-CD69-D03C-B7C9-373381E3C34F}"/>
              </a:ext>
            </a:extLst>
          </p:cNvPr>
          <p:cNvCxnSpPr/>
          <p:nvPr/>
        </p:nvCxnSpPr>
        <p:spPr>
          <a:xfrm>
            <a:off x="3208275" y="4531567"/>
            <a:ext cx="425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Rechte verbindingslijn met pijl 12">
            <a:extLst>
              <a:ext uri="{FF2B5EF4-FFF2-40B4-BE49-F238E27FC236}">
                <a16:creationId xmlns:a16="http://schemas.microsoft.com/office/drawing/2014/main" id="{BAEA0D44-7839-AEFA-9A19-C42F3BD8A235}"/>
              </a:ext>
            </a:extLst>
          </p:cNvPr>
          <p:cNvCxnSpPr>
            <a:cxnSpLocks/>
          </p:cNvCxnSpPr>
          <p:nvPr/>
        </p:nvCxnSpPr>
        <p:spPr>
          <a:xfrm flipH="1">
            <a:off x="6368143" y="5166284"/>
            <a:ext cx="4199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kstvak 14">
            <a:extLst>
              <a:ext uri="{FF2B5EF4-FFF2-40B4-BE49-F238E27FC236}">
                <a16:creationId xmlns:a16="http://schemas.microsoft.com/office/drawing/2014/main" id="{3FE970CF-3726-498A-35BF-B4D0EDECA522}"/>
              </a:ext>
            </a:extLst>
          </p:cNvPr>
          <p:cNvSpPr txBox="1"/>
          <p:nvPr/>
        </p:nvSpPr>
        <p:spPr>
          <a:xfrm>
            <a:off x="7467066" y="4289121"/>
            <a:ext cx="4440264" cy="1754326"/>
          </a:xfrm>
          <a:prstGeom prst="rect">
            <a:avLst/>
          </a:prstGeom>
          <a:noFill/>
        </p:spPr>
        <p:txBody>
          <a:bodyPr wrap="square" rtlCol="0">
            <a:spAutoFit/>
          </a:bodyPr>
          <a:lstStyle/>
          <a:p>
            <a:r>
              <a:rPr lang="nl-NL" b="0" dirty="0" err="1">
                <a:solidFill>
                  <a:srgbClr val="C586C0"/>
                </a:solidFill>
                <a:effectLst/>
                <a:latin typeface="Consolas" panose="020B0609020204030204" pitchFamily="49" charset="0"/>
              </a:rPr>
              <a:t>from</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datetime</a:t>
            </a:r>
            <a:r>
              <a:rPr lang="nl-NL" b="0" dirty="0">
                <a:solidFill>
                  <a:srgbClr val="CCCCCC"/>
                </a:solidFill>
                <a:effectLst/>
                <a:latin typeface="Consolas" panose="020B0609020204030204" pitchFamily="49" charset="0"/>
              </a:rPr>
              <a:t> </a:t>
            </a:r>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datetime</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ifcopenshell</a:t>
            </a:r>
            <a:r>
              <a:rPr lang="nl-NL" b="0" dirty="0">
                <a:solidFill>
                  <a:srgbClr val="CCCCCC"/>
                </a:solidFill>
                <a:effectLst/>
                <a:latin typeface="Consolas" panose="020B0609020204030204" pitchFamily="49" charset="0"/>
              </a:rPr>
              <a:t> </a:t>
            </a:r>
            <a:r>
              <a:rPr lang="nl-NL" b="0" dirty="0">
                <a:solidFill>
                  <a:srgbClr val="C586C0"/>
                </a:solidFill>
                <a:effectLst/>
                <a:latin typeface="Consolas" panose="020B0609020204030204" pitchFamily="49" charset="0"/>
              </a:rPr>
              <a:t>as</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ios</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Namespace</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a:solidFill>
                  <a:srgbClr val="4EC9B0"/>
                </a:solidFill>
                <a:effectLst/>
                <a:latin typeface="Consolas" panose="020B0609020204030204" pitchFamily="49" charset="0"/>
              </a:rPr>
              <a:t>os</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a:solidFill>
                  <a:srgbClr val="4EC9B0"/>
                </a:solidFill>
                <a:effectLst/>
                <a:latin typeface="Consolas" panose="020B0609020204030204" pitchFamily="49" charset="0"/>
              </a:rPr>
              <a:t>re</a:t>
            </a:r>
            <a:r>
              <a:rPr lang="nl-NL" b="0" dirty="0">
                <a:solidFill>
                  <a:srgbClr val="CCCCCC"/>
                </a:solidFill>
                <a:effectLst/>
                <a:latin typeface="Consolas" panose="020B0609020204030204" pitchFamily="49" charset="0"/>
              </a:rPr>
              <a:t> </a:t>
            </a:r>
          </a:p>
          <a:p>
            <a:endParaRPr lang="nl-NL" dirty="0"/>
          </a:p>
        </p:txBody>
      </p:sp>
      <p:sp>
        <p:nvSpPr>
          <p:cNvPr id="16" name="Tekstvak 15">
            <a:extLst>
              <a:ext uri="{FF2B5EF4-FFF2-40B4-BE49-F238E27FC236}">
                <a16:creationId xmlns:a16="http://schemas.microsoft.com/office/drawing/2014/main" id="{C8C4239A-55BC-C08E-0233-FBAF7402FFCE}"/>
              </a:ext>
            </a:extLst>
          </p:cNvPr>
          <p:cNvSpPr txBox="1"/>
          <p:nvPr/>
        </p:nvSpPr>
        <p:spPr>
          <a:xfrm>
            <a:off x="7467066" y="3996890"/>
            <a:ext cx="3952046" cy="369332"/>
          </a:xfrm>
          <a:prstGeom prst="rect">
            <a:avLst/>
          </a:prstGeom>
          <a:noFill/>
        </p:spPr>
        <p:txBody>
          <a:bodyPr wrap="square" rtlCol="0">
            <a:spAutoFit/>
          </a:bodyPr>
          <a:lstStyle/>
          <a:p>
            <a:r>
              <a:rPr lang="nl-NL" dirty="0"/>
              <a:t>Packages:</a:t>
            </a:r>
          </a:p>
        </p:txBody>
      </p:sp>
    </p:spTree>
    <p:extLst>
      <p:ext uri="{BB962C8B-B14F-4D97-AF65-F5344CB8AC3E}">
        <p14:creationId xmlns:p14="http://schemas.microsoft.com/office/powerpoint/2010/main" val="1539123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kstvak 10">
            <a:extLst>
              <a:ext uri="{FF2B5EF4-FFF2-40B4-BE49-F238E27FC236}">
                <a16:creationId xmlns:a16="http://schemas.microsoft.com/office/drawing/2014/main" id="{A1EE8646-823E-BAE2-5DB9-6A84A4650D75}"/>
              </a:ext>
            </a:extLst>
          </p:cNvPr>
          <p:cNvSpPr txBox="1"/>
          <p:nvPr/>
        </p:nvSpPr>
        <p:spPr>
          <a:xfrm>
            <a:off x="772888" y="1323280"/>
            <a:ext cx="10472284" cy="3785652"/>
          </a:xfrm>
          <a:prstGeom prst="rect">
            <a:avLst/>
          </a:prstGeom>
          <a:noFill/>
        </p:spPr>
        <p:txBody>
          <a:bodyPr wrap="square">
            <a:spAutoFit/>
          </a:bodyPr>
          <a:lstStyle/>
          <a:p>
            <a:pPr marL="342900" indent="-342900" algn="l">
              <a:buAutoNum type="arabicPeriod"/>
            </a:pPr>
            <a:r>
              <a:rPr lang="en-US" sz="1600" b="0" i="0" dirty="0">
                <a:effectLst/>
                <a:latin typeface="Söhne"/>
              </a:rPr>
              <a:t>Install the packages. To do this, pull up the terminal at the bottom of the screen.</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algn="l"/>
            <a:endParaRPr lang="nl-NL" sz="1600" dirty="0">
              <a:latin typeface="Söhne"/>
            </a:endParaRPr>
          </a:p>
          <a:p>
            <a:pPr algn="l"/>
            <a:r>
              <a:rPr lang="nl-NL" sz="1600" dirty="0">
                <a:latin typeface="Söhne"/>
              </a:rPr>
              <a:t>2. </a:t>
            </a:r>
            <a:r>
              <a:rPr lang="en-US" sz="1600" dirty="0">
                <a:latin typeface="Söhne"/>
              </a:rPr>
              <a:t>Install the required packages in the terminal using pip install ...</a:t>
            </a:r>
            <a:r>
              <a:rPr lang="en-US" sz="1600" dirty="0">
                <a:highlight>
                  <a:srgbClr val="FFFF00"/>
                </a:highlight>
                <a:latin typeface="Söhne"/>
              </a:rPr>
              <a:t>name package....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algn="l"/>
            <a:endParaRPr lang="nl-NL" sz="1600" dirty="0">
              <a:latin typeface="Söhne"/>
            </a:endParaRPr>
          </a:p>
          <a:p>
            <a:pPr algn="l"/>
            <a:r>
              <a:rPr lang="nl-NL" sz="1600" dirty="0">
                <a:latin typeface="Söhne"/>
              </a:rPr>
              <a:t>3.   </a:t>
            </a:r>
            <a:r>
              <a:rPr lang="en-US" sz="1600" dirty="0">
                <a:latin typeface="Söhne"/>
              </a:rPr>
              <a:t>If properly installed it looks like this (namespaces represents the file namespaces downloaded from </a:t>
            </a:r>
            <a:r>
              <a:rPr lang="en-US" sz="1600" dirty="0" err="1">
                <a:latin typeface="Söhne"/>
              </a:rPr>
              <a:t>github</a:t>
            </a:r>
            <a:r>
              <a:rPr lang="en-US" sz="1600" dirty="0">
                <a:latin typeface="Söhne"/>
              </a:rPr>
              <a:t>).</a:t>
            </a:r>
          </a:p>
          <a:p>
            <a:pPr algn="l"/>
            <a:r>
              <a:rPr lang="en-US" sz="1600" dirty="0">
                <a:latin typeface="Söhne"/>
              </a:rPr>
              <a:t>       If not installed it can be identified by a yellow or red underscore</a:t>
            </a:r>
          </a:p>
        </p:txBody>
      </p:sp>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ownloads</a:t>
            </a: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6" name="Afbeelding 5">
            <a:extLst>
              <a:ext uri="{FF2B5EF4-FFF2-40B4-BE49-F238E27FC236}">
                <a16:creationId xmlns:a16="http://schemas.microsoft.com/office/drawing/2014/main" id="{13156CCA-6DBB-8AC9-47EC-4D83B1131C1A}"/>
              </a:ext>
            </a:extLst>
          </p:cNvPr>
          <p:cNvPicPr>
            <a:picLocks noChangeAspect="1"/>
          </p:cNvPicPr>
          <p:nvPr/>
        </p:nvPicPr>
        <p:blipFill>
          <a:blip r:embed="rId3"/>
          <a:stretch>
            <a:fillRect/>
          </a:stretch>
        </p:blipFill>
        <p:spPr>
          <a:xfrm>
            <a:off x="1170215" y="3371283"/>
            <a:ext cx="5856516" cy="1181408"/>
          </a:xfrm>
          <a:prstGeom prst="rect">
            <a:avLst/>
          </a:prstGeom>
        </p:spPr>
      </p:pic>
      <p:pic>
        <p:nvPicPr>
          <p:cNvPr id="20" name="Afbeelding 19">
            <a:extLst>
              <a:ext uri="{FF2B5EF4-FFF2-40B4-BE49-F238E27FC236}">
                <a16:creationId xmlns:a16="http://schemas.microsoft.com/office/drawing/2014/main" id="{8EB1B4FA-AC70-4FC1-A039-C46FCAD74FBF}"/>
              </a:ext>
            </a:extLst>
          </p:cNvPr>
          <p:cNvPicPr>
            <a:picLocks noChangeAspect="1"/>
          </p:cNvPicPr>
          <p:nvPr/>
        </p:nvPicPr>
        <p:blipFill>
          <a:blip r:embed="rId4"/>
          <a:stretch>
            <a:fillRect/>
          </a:stretch>
        </p:blipFill>
        <p:spPr>
          <a:xfrm>
            <a:off x="1170215" y="1607944"/>
            <a:ext cx="6041570" cy="1288070"/>
          </a:xfrm>
          <a:prstGeom prst="rect">
            <a:avLst/>
          </a:prstGeom>
        </p:spPr>
      </p:pic>
      <p:cxnSp>
        <p:nvCxnSpPr>
          <p:cNvPr id="22" name="Rechte verbindingslijn met pijl 21">
            <a:extLst>
              <a:ext uri="{FF2B5EF4-FFF2-40B4-BE49-F238E27FC236}">
                <a16:creationId xmlns:a16="http://schemas.microsoft.com/office/drawing/2014/main" id="{6564B797-C93B-5816-5FB6-D873137F32BC}"/>
              </a:ext>
            </a:extLst>
          </p:cNvPr>
          <p:cNvCxnSpPr/>
          <p:nvPr/>
        </p:nvCxnSpPr>
        <p:spPr>
          <a:xfrm flipV="1">
            <a:off x="4561114" y="2251979"/>
            <a:ext cx="0" cy="3824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E80ECA01-BDFB-84B0-16D3-C35F40486D2B}"/>
              </a:ext>
            </a:extLst>
          </p:cNvPr>
          <p:cNvCxnSpPr/>
          <p:nvPr/>
        </p:nvCxnSpPr>
        <p:spPr>
          <a:xfrm>
            <a:off x="4114800" y="2623576"/>
            <a:ext cx="892628" cy="0"/>
          </a:xfrm>
          <a:prstGeom prst="line">
            <a:avLst/>
          </a:prstGeom>
        </p:spPr>
        <p:style>
          <a:lnRef idx="1">
            <a:schemeClr val="accent1"/>
          </a:lnRef>
          <a:fillRef idx="0">
            <a:schemeClr val="accent1"/>
          </a:fillRef>
          <a:effectRef idx="0">
            <a:schemeClr val="accent1"/>
          </a:effectRef>
          <a:fontRef idx="minor">
            <a:schemeClr val="tx1"/>
          </a:fontRef>
        </p:style>
      </p:cxnSp>
      <p:pic>
        <p:nvPicPr>
          <p:cNvPr id="26" name="Afbeelding 25">
            <a:extLst>
              <a:ext uri="{FF2B5EF4-FFF2-40B4-BE49-F238E27FC236}">
                <a16:creationId xmlns:a16="http://schemas.microsoft.com/office/drawing/2014/main" id="{CD1F434F-8504-2914-CB02-FFE663C703A8}"/>
              </a:ext>
            </a:extLst>
          </p:cNvPr>
          <p:cNvPicPr>
            <a:picLocks noChangeAspect="1"/>
          </p:cNvPicPr>
          <p:nvPr/>
        </p:nvPicPr>
        <p:blipFill>
          <a:blip r:embed="rId5"/>
          <a:stretch>
            <a:fillRect/>
          </a:stretch>
        </p:blipFill>
        <p:spPr>
          <a:xfrm>
            <a:off x="1170215" y="5027960"/>
            <a:ext cx="7303735" cy="1240466"/>
          </a:xfrm>
          <a:prstGeom prst="rect">
            <a:avLst/>
          </a:prstGeom>
        </p:spPr>
      </p:pic>
    </p:spTree>
    <p:extLst>
      <p:ext uri="{BB962C8B-B14F-4D97-AF65-F5344CB8AC3E}">
        <p14:creationId xmlns:p14="http://schemas.microsoft.com/office/powerpoint/2010/main" val="460504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Convert</a:t>
            </a:r>
            <a:r>
              <a:rPr lang="nl-NL" dirty="0"/>
              <a:t> IFC-LBD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5" name="Afbeelding 4">
            <a:extLst>
              <a:ext uri="{FF2B5EF4-FFF2-40B4-BE49-F238E27FC236}">
                <a16:creationId xmlns:a16="http://schemas.microsoft.com/office/drawing/2014/main" id="{50A69594-4035-8EB1-0CCA-D1E192039F43}"/>
              </a:ext>
            </a:extLst>
          </p:cNvPr>
          <p:cNvPicPr>
            <a:picLocks noChangeAspect="1"/>
          </p:cNvPicPr>
          <p:nvPr/>
        </p:nvPicPr>
        <p:blipFill>
          <a:blip r:embed="rId3"/>
          <a:stretch>
            <a:fillRect/>
          </a:stretch>
        </p:blipFill>
        <p:spPr>
          <a:xfrm>
            <a:off x="1134254" y="2520900"/>
            <a:ext cx="8919090" cy="908100"/>
          </a:xfrm>
          <a:prstGeom prst="rect">
            <a:avLst/>
          </a:prstGeom>
        </p:spPr>
      </p:pic>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3539430"/>
          </a:xfrm>
          <a:prstGeom prst="rect">
            <a:avLst/>
          </a:prstGeom>
          <a:noFill/>
        </p:spPr>
        <p:txBody>
          <a:bodyPr wrap="square">
            <a:spAutoFit/>
          </a:bodyPr>
          <a:lstStyle/>
          <a:p>
            <a:pPr marL="342900" indent="-342900" algn="l">
              <a:buAutoNum type="arabicPeriod"/>
            </a:pPr>
            <a:r>
              <a:rPr lang="en-US" sz="1600" b="0" i="0" dirty="0">
                <a:effectLst/>
                <a:latin typeface="Söhne"/>
              </a:rPr>
              <a:t>Save the </a:t>
            </a:r>
            <a:r>
              <a:rPr lang="en-US" sz="1600" b="0" i="0" dirty="0" err="1">
                <a:effectLst/>
                <a:latin typeface="Söhne"/>
              </a:rPr>
              <a:t>ifc</a:t>
            </a:r>
            <a:r>
              <a:rPr lang="en-US" sz="1600" b="0" i="0" dirty="0">
                <a:effectLst/>
                <a:latin typeface="Söhne"/>
              </a:rPr>
              <a:t> you want to convert to </a:t>
            </a:r>
            <a:r>
              <a:rPr lang="en-US" sz="1600" b="0" i="0" dirty="0" err="1">
                <a:effectLst/>
                <a:latin typeface="Söhne"/>
              </a:rPr>
              <a:t>rdf</a:t>
            </a:r>
            <a:r>
              <a:rPr lang="en-US" sz="1600" b="0" i="0" dirty="0">
                <a:effectLst/>
                <a:latin typeface="Söhne"/>
              </a:rPr>
              <a:t> in your python directory in the same location where your python file is saved</a:t>
            </a:r>
          </a:p>
          <a:p>
            <a:pPr marL="342900" indent="-342900" algn="l">
              <a:buAutoNum type="arabicPeriod"/>
            </a:pPr>
            <a:r>
              <a:rPr lang="en-US" sz="1600" dirty="0">
                <a:latin typeface="Söhne"/>
              </a:rPr>
              <a:t>Enter the name of the </a:t>
            </a:r>
            <a:r>
              <a:rPr lang="en-US" sz="1600" dirty="0" err="1">
                <a:latin typeface="Söhne"/>
              </a:rPr>
              <a:t>ifc</a:t>
            </a:r>
            <a:r>
              <a:rPr lang="en-US" sz="1600" dirty="0">
                <a:latin typeface="Söhne"/>
              </a:rPr>
              <a:t> file you want to convert as shown in line 28. (By using a # you make sure that the text there is seen as a 'note' and then the file is not read. For example, in this example, line 27 is not read, but line 28 is).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r>
              <a:rPr lang="en-US" sz="1600" dirty="0">
                <a:latin typeface="Söhne"/>
              </a:rPr>
              <a:t>Scroll down the script. Again, enter the name of the </a:t>
            </a:r>
            <a:r>
              <a:rPr lang="en-US" sz="1600" dirty="0" err="1">
                <a:latin typeface="Söhne"/>
              </a:rPr>
              <a:t>ifc</a:t>
            </a:r>
            <a:r>
              <a:rPr lang="en-US" sz="1600" dirty="0">
                <a:latin typeface="Söhne"/>
              </a:rPr>
              <a:t> file here. NOTE: If you have created a folder in your python environment where the </a:t>
            </a:r>
            <a:r>
              <a:rPr lang="en-US" sz="1600" dirty="0" err="1">
                <a:latin typeface="Söhne"/>
              </a:rPr>
              <a:t>ifc</a:t>
            </a:r>
            <a:r>
              <a:rPr lang="en-US" sz="1600" dirty="0">
                <a:latin typeface="Söhne"/>
              </a:rPr>
              <a:t> file is stored. Then put the name of the folder in front of it with </a:t>
            </a:r>
            <a:r>
              <a:rPr lang="en-US" sz="1600" dirty="0" err="1">
                <a:latin typeface="Söhne"/>
              </a:rPr>
              <a:t>ifc</a:t>
            </a:r>
            <a:r>
              <a:rPr lang="en-US" sz="1600" dirty="0">
                <a:latin typeface="Söhne"/>
              </a:rPr>
              <a:t> after it (in example, the folder is called files).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9" name="Afbeelding 8">
            <a:extLst>
              <a:ext uri="{FF2B5EF4-FFF2-40B4-BE49-F238E27FC236}">
                <a16:creationId xmlns:a16="http://schemas.microsoft.com/office/drawing/2014/main" id="{F65BD104-FD2F-33A8-9B81-D248B375F723}"/>
              </a:ext>
            </a:extLst>
          </p:cNvPr>
          <p:cNvPicPr>
            <a:picLocks noChangeAspect="1"/>
          </p:cNvPicPr>
          <p:nvPr/>
        </p:nvPicPr>
        <p:blipFill>
          <a:blip r:embed="rId4"/>
          <a:stretch>
            <a:fillRect/>
          </a:stretch>
        </p:blipFill>
        <p:spPr>
          <a:xfrm>
            <a:off x="1134254" y="4566849"/>
            <a:ext cx="8229372" cy="1766581"/>
          </a:xfrm>
          <a:prstGeom prst="rect">
            <a:avLst/>
          </a:prstGeom>
        </p:spPr>
      </p:pic>
      <p:cxnSp>
        <p:nvCxnSpPr>
          <p:cNvPr id="8" name="Rechte verbindingslijn met pijl 7">
            <a:extLst>
              <a:ext uri="{FF2B5EF4-FFF2-40B4-BE49-F238E27FC236}">
                <a16:creationId xmlns:a16="http://schemas.microsoft.com/office/drawing/2014/main" id="{BEAD868B-576A-6680-5F06-321FB4765679}"/>
              </a:ext>
            </a:extLst>
          </p:cNvPr>
          <p:cNvCxnSpPr/>
          <p:nvPr/>
        </p:nvCxnSpPr>
        <p:spPr>
          <a:xfrm flipH="1">
            <a:off x="3909526" y="5131837"/>
            <a:ext cx="1017037"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93514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kstvak 10">
            <a:extLst>
              <a:ext uri="{FF2B5EF4-FFF2-40B4-BE49-F238E27FC236}">
                <a16:creationId xmlns:a16="http://schemas.microsoft.com/office/drawing/2014/main" id="{A1EE8646-823E-BAE2-5DB9-6A84A4650D75}"/>
              </a:ext>
            </a:extLst>
          </p:cNvPr>
          <p:cNvSpPr txBox="1"/>
          <p:nvPr/>
        </p:nvSpPr>
        <p:spPr>
          <a:xfrm>
            <a:off x="772887" y="1323280"/>
            <a:ext cx="10797071" cy="830997"/>
          </a:xfrm>
          <a:prstGeom prst="rect">
            <a:avLst/>
          </a:prstGeom>
          <a:noFill/>
        </p:spPr>
        <p:txBody>
          <a:bodyPr wrap="square">
            <a:spAutoFit/>
          </a:bodyPr>
          <a:lstStyle/>
          <a:p>
            <a:pPr algn="l"/>
            <a:r>
              <a:rPr lang="en-US" sz="1600" b="0" i="0" dirty="0">
                <a:effectLst/>
                <a:latin typeface="Söhne"/>
              </a:rPr>
              <a:t>Example directory structure</a:t>
            </a:r>
          </a:p>
          <a:p>
            <a:pPr algn="l"/>
            <a:r>
              <a:rPr lang="en-US" sz="1600" b="0" i="0" dirty="0">
                <a:effectLst/>
                <a:latin typeface="Söhne"/>
              </a:rPr>
              <a:t>Note: You can use file name extensions to check if the name is in there correctly (e.g. not </a:t>
            </a:r>
            <a:r>
              <a:rPr lang="en-US" sz="1600" b="0" i="0" dirty="0" err="1">
                <a:effectLst/>
                <a:latin typeface="Söhne"/>
              </a:rPr>
              <a:t>ifc.ifc</a:t>
            </a:r>
            <a:r>
              <a:rPr lang="en-US" sz="1600" b="0" i="0" dirty="0">
                <a:effectLst/>
                <a:latin typeface="Söhne"/>
              </a:rPr>
              <a:t>. Is after the file name)</a:t>
            </a:r>
          </a:p>
          <a:p>
            <a:pPr marL="342900" indent="-342900" algn="l">
              <a:buAutoNum type="arabicPeriod"/>
            </a:pPr>
            <a:endParaRPr lang="nl-NL" sz="1600" dirty="0">
              <a:latin typeface="Söhne"/>
            </a:endParaRP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8" name="Afbeelding 7">
            <a:extLst>
              <a:ext uri="{FF2B5EF4-FFF2-40B4-BE49-F238E27FC236}">
                <a16:creationId xmlns:a16="http://schemas.microsoft.com/office/drawing/2014/main" id="{892EE3BE-62D1-41DB-38E2-C95AC4B8618A}"/>
              </a:ext>
            </a:extLst>
          </p:cNvPr>
          <p:cNvPicPr>
            <a:picLocks noChangeAspect="1"/>
          </p:cNvPicPr>
          <p:nvPr/>
        </p:nvPicPr>
        <p:blipFill>
          <a:blip r:embed="rId3"/>
          <a:stretch>
            <a:fillRect/>
          </a:stretch>
        </p:blipFill>
        <p:spPr>
          <a:xfrm>
            <a:off x="946828" y="1947551"/>
            <a:ext cx="7413304" cy="2142294"/>
          </a:xfrm>
          <a:prstGeom prst="rect">
            <a:avLst/>
          </a:prstGeom>
        </p:spPr>
      </p:pic>
      <p:sp>
        <p:nvSpPr>
          <p:cNvPr id="14" name="Titel 1">
            <a:extLst>
              <a:ext uri="{FF2B5EF4-FFF2-40B4-BE49-F238E27FC236}">
                <a16:creationId xmlns:a16="http://schemas.microsoft.com/office/drawing/2014/main" id="{24A03EFF-44DB-60C6-6D92-730352C840AC}"/>
              </a:ext>
            </a:extLst>
          </p:cNvPr>
          <p:cNvSpPr txBox="1">
            <a:spLocks/>
          </p:cNvSpPr>
          <p:nvPr/>
        </p:nvSpPr>
        <p:spPr>
          <a:xfrm>
            <a:off x="946828" y="699009"/>
            <a:ext cx="9471025" cy="601788"/>
          </a:xfrm>
          <a:prstGeom prst="rect">
            <a:avLst/>
          </a:prstGeom>
        </p:spPr>
        <p:txBody>
          <a:bodyPr vert="horz" lIns="0"/>
          <a:lstStyle>
            <a:lvl1pPr algn="l" defTabSz="685800" rtl="0" eaLnBrk="1" latinLnBrk="0" hangingPunct="1">
              <a:lnSpc>
                <a:spcPct val="90000"/>
              </a:lnSpc>
              <a:spcBef>
                <a:spcPct val="0"/>
              </a:spcBef>
              <a:buNone/>
              <a:defRPr sz="2800" b="1" kern="1200">
                <a:solidFill>
                  <a:schemeClr val="accent1"/>
                </a:solidFill>
                <a:latin typeface="+mj-lt"/>
                <a:ea typeface="+mj-ea"/>
                <a:cs typeface="+mj-cs"/>
              </a:defRPr>
            </a:lvl1pPr>
          </a:lstStyle>
          <a:p>
            <a:r>
              <a:rPr lang="nl-NL" dirty="0" err="1"/>
              <a:t>Convert</a:t>
            </a:r>
            <a:r>
              <a:rPr lang="nl-NL" dirty="0"/>
              <a:t> IFC-LBD (RDF)</a:t>
            </a:r>
          </a:p>
        </p:txBody>
      </p:sp>
      <p:pic>
        <p:nvPicPr>
          <p:cNvPr id="4" name="Afbeelding 3">
            <a:extLst>
              <a:ext uri="{FF2B5EF4-FFF2-40B4-BE49-F238E27FC236}">
                <a16:creationId xmlns:a16="http://schemas.microsoft.com/office/drawing/2014/main" id="{46FE3529-9CF8-12EE-EC6F-0C38435F1BB4}"/>
              </a:ext>
            </a:extLst>
          </p:cNvPr>
          <p:cNvPicPr>
            <a:picLocks noChangeAspect="1"/>
          </p:cNvPicPr>
          <p:nvPr/>
        </p:nvPicPr>
        <p:blipFill>
          <a:blip r:embed="rId4"/>
          <a:stretch>
            <a:fillRect/>
          </a:stretch>
        </p:blipFill>
        <p:spPr>
          <a:xfrm>
            <a:off x="946828" y="4149590"/>
            <a:ext cx="8997817" cy="1565721"/>
          </a:xfrm>
          <a:prstGeom prst="rect">
            <a:avLst/>
          </a:prstGeom>
        </p:spPr>
      </p:pic>
      <p:sp>
        <p:nvSpPr>
          <p:cNvPr id="5" name="Ovaal 4">
            <a:extLst>
              <a:ext uri="{FF2B5EF4-FFF2-40B4-BE49-F238E27FC236}">
                <a16:creationId xmlns:a16="http://schemas.microsoft.com/office/drawing/2014/main" id="{CC932780-DE6C-E63A-1123-39EAE08774A7}"/>
              </a:ext>
            </a:extLst>
          </p:cNvPr>
          <p:cNvSpPr/>
          <p:nvPr/>
        </p:nvSpPr>
        <p:spPr>
          <a:xfrm>
            <a:off x="6438122" y="4372103"/>
            <a:ext cx="1250302" cy="419877"/>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Ovaal 5">
            <a:extLst>
              <a:ext uri="{FF2B5EF4-FFF2-40B4-BE49-F238E27FC236}">
                <a16:creationId xmlns:a16="http://schemas.microsoft.com/office/drawing/2014/main" id="{038E8A4E-A160-901A-EF6C-D964EFD0DC44}"/>
              </a:ext>
            </a:extLst>
          </p:cNvPr>
          <p:cNvSpPr/>
          <p:nvPr/>
        </p:nvSpPr>
        <p:spPr>
          <a:xfrm>
            <a:off x="1828799" y="4236382"/>
            <a:ext cx="609600" cy="271442"/>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9" name="Afbeelding 8">
            <a:extLst>
              <a:ext uri="{FF2B5EF4-FFF2-40B4-BE49-F238E27FC236}">
                <a16:creationId xmlns:a16="http://schemas.microsoft.com/office/drawing/2014/main" id="{A062F11C-8166-5C6D-831C-734A6EF57AC9}"/>
              </a:ext>
            </a:extLst>
          </p:cNvPr>
          <p:cNvPicPr>
            <a:picLocks noChangeAspect="1"/>
          </p:cNvPicPr>
          <p:nvPr/>
        </p:nvPicPr>
        <p:blipFill rotWithShape="1">
          <a:blip r:embed="rId5"/>
          <a:srcRect l="9642" t="4205" r="6657"/>
          <a:stretch/>
        </p:blipFill>
        <p:spPr>
          <a:xfrm>
            <a:off x="10067731" y="4559853"/>
            <a:ext cx="1782146" cy="594406"/>
          </a:xfrm>
          <a:prstGeom prst="rect">
            <a:avLst/>
          </a:prstGeom>
        </p:spPr>
      </p:pic>
      <p:cxnSp>
        <p:nvCxnSpPr>
          <p:cNvPr id="12" name="Rechte verbindingslijn met pijl 11">
            <a:extLst>
              <a:ext uri="{FF2B5EF4-FFF2-40B4-BE49-F238E27FC236}">
                <a16:creationId xmlns:a16="http://schemas.microsoft.com/office/drawing/2014/main" id="{E49864D5-A015-CC86-8B8C-00A22610E285}"/>
              </a:ext>
            </a:extLst>
          </p:cNvPr>
          <p:cNvCxnSpPr/>
          <p:nvPr/>
        </p:nvCxnSpPr>
        <p:spPr>
          <a:xfrm>
            <a:off x="2230016" y="3051110"/>
            <a:ext cx="895739"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1157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verteer IFC-LBD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4031873"/>
          </a:xfrm>
          <a:prstGeom prst="rect">
            <a:avLst/>
          </a:prstGeom>
          <a:noFill/>
        </p:spPr>
        <p:txBody>
          <a:bodyPr wrap="square">
            <a:spAutoFit/>
          </a:bodyPr>
          <a:lstStyle/>
          <a:p>
            <a:pPr marL="342900" indent="-342900" algn="l">
              <a:buAutoNum type="arabicPeriod"/>
            </a:pPr>
            <a:r>
              <a:rPr lang="nl-NL" sz="1600" b="0" i="0" dirty="0">
                <a:effectLst/>
                <a:latin typeface="Söhne"/>
              </a:rPr>
              <a:t>Run </a:t>
            </a:r>
            <a:r>
              <a:rPr lang="nl-NL" sz="1600" b="0" i="0" dirty="0" err="1">
                <a:effectLst/>
                <a:latin typeface="Söhne"/>
              </a:rPr>
              <a:t>the</a:t>
            </a:r>
            <a:r>
              <a:rPr lang="nl-NL" sz="1600" b="0" i="0" dirty="0">
                <a:effectLst/>
                <a:latin typeface="Söhne"/>
              </a:rPr>
              <a:t> code </a:t>
            </a:r>
            <a:r>
              <a:rPr lang="nl-NL" sz="1600" b="0" i="0" dirty="0" err="1">
                <a:effectLst/>
                <a:latin typeface="Söhne"/>
              </a:rPr>
              <a:t>when</a:t>
            </a:r>
            <a:r>
              <a:rPr lang="nl-NL" sz="1600" b="0" i="0" dirty="0">
                <a:effectLst/>
                <a:latin typeface="Söhne"/>
              </a:rPr>
              <a:t> </a:t>
            </a:r>
            <a:r>
              <a:rPr lang="nl-NL" sz="1600" b="0" i="0" dirty="0" err="1">
                <a:effectLst/>
                <a:latin typeface="Söhne"/>
              </a:rPr>
              <a:t>the</a:t>
            </a:r>
            <a:r>
              <a:rPr lang="nl-NL" sz="1600" b="0" i="0" dirty="0">
                <a:effectLst/>
                <a:latin typeface="Söhne"/>
              </a:rPr>
              <a:t> </a:t>
            </a:r>
            <a:r>
              <a:rPr lang="nl-NL" sz="1600" b="0" i="0" dirty="0" err="1">
                <a:effectLst/>
                <a:latin typeface="Söhne"/>
              </a:rPr>
              <a:t>names</a:t>
            </a:r>
            <a:r>
              <a:rPr lang="nl-NL" sz="1600" b="0" i="0" dirty="0">
                <a:effectLst/>
                <a:latin typeface="Söhne"/>
              </a:rPr>
              <a:t> are </a:t>
            </a:r>
            <a:r>
              <a:rPr lang="nl-NL" sz="1600" b="0" i="0" dirty="0" err="1">
                <a:effectLst/>
                <a:latin typeface="Söhne"/>
              </a:rPr>
              <a:t>filled</a:t>
            </a:r>
            <a:r>
              <a:rPr lang="nl-NL" sz="1600" b="0" i="0" dirty="0">
                <a:effectLst/>
                <a:latin typeface="Söhne"/>
              </a:rPr>
              <a:t> in.</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en-US" sz="1600" b="0" i="0" dirty="0">
                <a:effectLst/>
                <a:latin typeface="Söhne"/>
              </a:rPr>
              <a:t>The converted </a:t>
            </a:r>
            <a:r>
              <a:rPr lang="en-US" sz="1600" b="0" i="0" dirty="0" err="1">
                <a:effectLst/>
                <a:latin typeface="Söhne"/>
              </a:rPr>
              <a:t>ttl</a:t>
            </a:r>
            <a:r>
              <a:rPr lang="en-US" sz="1600" b="0" i="0" dirty="0">
                <a:effectLst/>
                <a:latin typeface="Söhne"/>
              </a:rPr>
              <a:t> file (RDF) will appear in the same folder where your IFC was saved</a:t>
            </a:r>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6" name="Afbeelding 5">
            <a:extLst>
              <a:ext uri="{FF2B5EF4-FFF2-40B4-BE49-F238E27FC236}">
                <a16:creationId xmlns:a16="http://schemas.microsoft.com/office/drawing/2014/main" id="{CCA3C442-7958-81D9-6135-FDA57A71CFEE}"/>
              </a:ext>
            </a:extLst>
          </p:cNvPr>
          <p:cNvPicPr>
            <a:picLocks noChangeAspect="1"/>
          </p:cNvPicPr>
          <p:nvPr/>
        </p:nvPicPr>
        <p:blipFill>
          <a:blip r:embed="rId3"/>
          <a:stretch>
            <a:fillRect/>
          </a:stretch>
        </p:blipFill>
        <p:spPr>
          <a:xfrm>
            <a:off x="772888" y="1861889"/>
            <a:ext cx="8577943" cy="2221864"/>
          </a:xfrm>
          <a:prstGeom prst="rect">
            <a:avLst/>
          </a:prstGeom>
        </p:spPr>
      </p:pic>
      <p:cxnSp>
        <p:nvCxnSpPr>
          <p:cNvPr id="10" name="Rechte verbindingslijn met pijl 9">
            <a:extLst>
              <a:ext uri="{FF2B5EF4-FFF2-40B4-BE49-F238E27FC236}">
                <a16:creationId xmlns:a16="http://schemas.microsoft.com/office/drawing/2014/main" id="{75B2F871-1274-4D39-B5AD-389FDCE58C5D}"/>
              </a:ext>
            </a:extLst>
          </p:cNvPr>
          <p:cNvCxnSpPr>
            <a:cxnSpLocks/>
          </p:cNvCxnSpPr>
          <p:nvPr/>
        </p:nvCxnSpPr>
        <p:spPr>
          <a:xfrm>
            <a:off x="8719457" y="1491343"/>
            <a:ext cx="0" cy="6427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4B31C844-8014-279F-8970-83BB119EC1C8}"/>
              </a:ext>
            </a:extLst>
          </p:cNvPr>
          <p:cNvCxnSpPr>
            <a:cxnSpLocks/>
          </p:cNvCxnSpPr>
          <p:nvPr/>
        </p:nvCxnSpPr>
        <p:spPr>
          <a:xfrm flipH="1">
            <a:off x="4983480" y="1491343"/>
            <a:ext cx="373597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85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customXml/itemProps2.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3.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2016</Words>
  <Application>Microsoft Office PowerPoint</Application>
  <PresentationFormat>Breedbeeld</PresentationFormat>
  <Paragraphs>368</Paragraphs>
  <Slides>25</Slides>
  <Notes>21</Notes>
  <HiddenSlides>0</HiddenSlides>
  <MMClips>0</MMClips>
  <ScaleCrop>false</ScaleCrop>
  <HeadingPairs>
    <vt:vector size="8" baseType="variant">
      <vt:variant>
        <vt:lpstr>Gebruikte lettertypen</vt:lpstr>
      </vt:variant>
      <vt:variant>
        <vt:i4>6</vt:i4>
      </vt:variant>
      <vt:variant>
        <vt:lpstr>Thema</vt:lpstr>
      </vt:variant>
      <vt:variant>
        <vt:i4>1</vt:i4>
      </vt:variant>
      <vt:variant>
        <vt:lpstr>Ingesloten OLE-bronprogramma's</vt:lpstr>
      </vt:variant>
      <vt:variant>
        <vt:i4>1</vt:i4>
      </vt:variant>
      <vt:variant>
        <vt:lpstr>Diatitels</vt:lpstr>
      </vt:variant>
      <vt:variant>
        <vt:i4>25</vt:i4>
      </vt:variant>
    </vt:vector>
  </HeadingPairs>
  <TitlesOfParts>
    <vt:vector size="33" baseType="lpstr">
      <vt:lpstr>Arial</vt:lpstr>
      <vt:lpstr>Calibri</vt:lpstr>
      <vt:lpstr>Consolas</vt:lpstr>
      <vt:lpstr>Söhne</vt:lpstr>
      <vt:lpstr>Wingdings</vt:lpstr>
      <vt:lpstr>YouTube Noto</vt:lpstr>
      <vt:lpstr>BAM 2019</vt:lpstr>
      <vt:lpstr>think-cell Slide</vt:lpstr>
      <vt:lpstr>PowerPoint-presentatie</vt:lpstr>
      <vt:lpstr>De underlying steps</vt:lpstr>
      <vt:lpstr>De underlying steps</vt:lpstr>
      <vt:lpstr>Excercise</vt:lpstr>
      <vt:lpstr>Downloads</vt:lpstr>
      <vt:lpstr>Downloads</vt:lpstr>
      <vt:lpstr>Convert IFC-LBD (RDF)</vt:lpstr>
      <vt:lpstr>PowerPoint-presentatie</vt:lpstr>
      <vt:lpstr>Converteer IFC-LBD (RDF)</vt:lpstr>
      <vt:lpstr>Check the RDF</vt:lpstr>
      <vt:lpstr>Controleer de RDF</vt:lpstr>
      <vt:lpstr>Verschillende datatype en uitleg</vt:lpstr>
      <vt:lpstr>Controleer de RDF</vt:lpstr>
      <vt:lpstr>Valideer het RDF</vt:lpstr>
      <vt:lpstr>Valideer het RDF</vt:lpstr>
      <vt:lpstr>Valideer het RDF</vt:lpstr>
      <vt:lpstr>Valideer het RDF</vt:lpstr>
      <vt:lpstr>Voorbeeld classes en properties</vt:lpstr>
      <vt:lpstr>Het uitlezen van het validatierapport</vt:lpstr>
      <vt:lpstr>Voorbeelden foutmeldingen</vt:lpstr>
      <vt:lpstr>Voorbeelden foutmeldingen</vt:lpstr>
      <vt:lpstr>Voorbeelden foutmeldingen</vt:lpstr>
      <vt:lpstr>Let op! </vt:lpstr>
      <vt:lpstr>Download GraphDB</vt:lpstr>
      <vt:lpstr>Het maken van quer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Bosma, Janneke; Janneke Bosma</dc:creator>
  <cp:keywords/>
  <cp:lastModifiedBy>Bosma, Janneke</cp:lastModifiedBy>
  <cp:revision>10</cp:revision>
  <dcterms:created xsi:type="dcterms:W3CDTF">2023-11-15T15:21:24Z</dcterms:created>
  <dcterms:modified xsi:type="dcterms:W3CDTF">2024-04-30T09:1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